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Lst>
  <p:notesMasterIdLst>
    <p:notesMasterId r:id="rId18"/>
  </p:notesMasterIdLst>
  <p:sldIdLst>
    <p:sldId id="381" r:id="rId3"/>
    <p:sldId id="379" r:id="rId4"/>
    <p:sldId id="380" r:id="rId5"/>
    <p:sldId id="369" r:id="rId6"/>
    <p:sldId id="397" r:id="rId7"/>
    <p:sldId id="383" r:id="rId8"/>
    <p:sldId id="384" r:id="rId9"/>
    <p:sldId id="387" r:id="rId10"/>
    <p:sldId id="388" r:id="rId11"/>
    <p:sldId id="368" r:id="rId12"/>
    <p:sldId id="371" r:id="rId13"/>
    <p:sldId id="401" r:id="rId14"/>
    <p:sldId id="402" r:id="rId15"/>
    <p:sldId id="403" r:id="rId16"/>
    <p:sldId id="370" r:id="rId17"/>
  </p:sldIdLst>
  <p:sldSz cx="9906000" cy="6858000" type="A4"/>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56" userDrawn="1">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147" autoAdjust="0"/>
    <p:restoredTop sz="94249" autoAdjust="0"/>
  </p:normalViewPr>
  <p:slideViewPr>
    <p:cSldViewPr snapToGrid="0">
      <p:cViewPr varScale="1">
        <p:scale>
          <a:sx n="114" d="100"/>
          <a:sy n="114" d="100"/>
        </p:scale>
        <p:origin x="1854" y="102"/>
      </p:cViewPr>
      <p:guideLst>
        <p:guide orient="horz" pos="1956"/>
        <p:guide pos="312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20"/>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bar3DChart>
        <c:barDir val="col"/>
        <c:grouping val="stacked"/>
        <c:varyColors val="0"/>
        <c:ser>
          <c:idx val="0"/>
          <c:order val="0"/>
          <c:spPr>
            <a:solidFill>
              <a:schemeClr val="accent1">
                <a:lumMod val="75000"/>
              </a:schemeClr>
            </a:solidFill>
            <a:ln>
              <a:noFill/>
            </a:ln>
            <a:effectLst/>
            <a:sp3d/>
          </c:spPr>
          <c:invertIfNegative val="0"/>
          <c:dPt>
            <c:idx val="0"/>
            <c:invertIfNegative val="0"/>
            <c:bubble3D val="0"/>
            <c:spPr>
              <a:solidFill>
                <a:schemeClr val="tx2">
                  <a:lumMod val="40000"/>
                  <a:lumOff val="60000"/>
                </a:schemeClr>
              </a:solidFill>
              <a:ln>
                <a:noFill/>
              </a:ln>
              <a:effectLst/>
              <a:sp3d/>
            </c:spPr>
            <c:extLst>
              <c:ext xmlns:c16="http://schemas.microsoft.com/office/drawing/2014/chart" uri="{C3380CC4-5D6E-409C-BE32-E72D297353CC}">
                <c16:uniqueId val="{00000001-3F81-4B27-968B-59979D5D468D}"/>
              </c:ext>
            </c:extLst>
          </c:dPt>
          <c:dPt>
            <c:idx val="1"/>
            <c:invertIfNegative val="0"/>
            <c:bubble3D val="0"/>
            <c:spPr>
              <a:solidFill>
                <a:schemeClr val="tx2">
                  <a:lumMod val="60000"/>
                  <a:lumOff val="40000"/>
                </a:schemeClr>
              </a:solidFill>
              <a:ln>
                <a:noFill/>
              </a:ln>
              <a:effectLst/>
              <a:sp3d/>
            </c:spPr>
            <c:extLst>
              <c:ext xmlns:c16="http://schemas.microsoft.com/office/drawing/2014/chart" uri="{C3380CC4-5D6E-409C-BE32-E72D297353CC}">
                <c16:uniqueId val="{00000003-3F81-4B27-968B-59979D5D468D}"/>
              </c:ext>
            </c:extLst>
          </c:dPt>
          <c:dPt>
            <c:idx val="2"/>
            <c:invertIfNegative val="0"/>
            <c:bubble3D val="0"/>
            <c:spPr>
              <a:solidFill>
                <a:schemeClr val="accent1">
                  <a:lumMod val="20000"/>
                  <a:lumOff val="80000"/>
                </a:schemeClr>
              </a:solidFill>
              <a:ln>
                <a:noFill/>
              </a:ln>
              <a:effectLst/>
              <a:sp3d/>
            </c:spPr>
            <c:extLst>
              <c:ext xmlns:c16="http://schemas.microsoft.com/office/drawing/2014/chart" uri="{C3380CC4-5D6E-409C-BE32-E72D297353CC}">
                <c16:uniqueId val="{00000005-3F81-4B27-968B-59979D5D468D}"/>
              </c:ext>
            </c:extLst>
          </c:dPt>
          <c:dPt>
            <c:idx val="3"/>
            <c:invertIfNegative val="0"/>
            <c:bubble3D val="0"/>
            <c:spPr>
              <a:solidFill>
                <a:schemeClr val="accent1">
                  <a:lumMod val="40000"/>
                  <a:lumOff val="60000"/>
                </a:schemeClr>
              </a:solidFill>
              <a:ln>
                <a:noFill/>
              </a:ln>
              <a:effectLst/>
              <a:sp3d/>
            </c:spPr>
            <c:extLst>
              <c:ext xmlns:c16="http://schemas.microsoft.com/office/drawing/2014/chart" uri="{C3380CC4-5D6E-409C-BE32-E72D297353CC}">
                <c16:uniqueId val="{00000007-3F81-4B27-968B-59979D5D468D}"/>
              </c:ext>
            </c:extLst>
          </c:dPt>
          <c:dPt>
            <c:idx val="4"/>
            <c:invertIfNegative val="0"/>
            <c:bubble3D val="0"/>
            <c:spPr>
              <a:solidFill>
                <a:schemeClr val="accent1">
                  <a:lumMod val="60000"/>
                  <a:lumOff val="40000"/>
                </a:schemeClr>
              </a:solidFill>
              <a:ln>
                <a:noFill/>
              </a:ln>
              <a:effectLst/>
              <a:sp3d/>
            </c:spPr>
            <c:extLst>
              <c:ext xmlns:c16="http://schemas.microsoft.com/office/drawing/2014/chart" uri="{C3380CC4-5D6E-409C-BE32-E72D297353CC}">
                <c16:uniqueId val="{00000009-3F81-4B27-968B-59979D5D468D}"/>
              </c:ext>
            </c:extLst>
          </c:dPt>
          <c:dPt>
            <c:idx val="5"/>
            <c:invertIfNegative val="0"/>
            <c:bubble3D val="0"/>
            <c:spPr>
              <a:solidFill>
                <a:schemeClr val="accent5">
                  <a:lumMod val="40000"/>
                  <a:lumOff val="60000"/>
                </a:schemeClr>
              </a:solidFill>
              <a:ln>
                <a:noFill/>
              </a:ln>
              <a:effectLst/>
              <a:sp3d/>
            </c:spPr>
            <c:extLst>
              <c:ext xmlns:c16="http://schemas.microsoft.com/office/drawing/2014/chart" uri="{C3380CC4-5D6E-409C-BE32-E72D297353CC}">
                <c16:uniqueId val="{0000000B-3F81-4B27-968B-59979D5D468D}"/>
              </c:ext>
            </c:extLst>
          </c:dPt>
          <c:dPt>
            <c:idx val="6"/>
            <c:invertIfNegative val="0"/>
            <c:bubble3D val="0"/>
            <c:spPr>
              <a:solidFill>
                <a:schemeClr val="accent5">
                  <a:lumMod val="60000"/>
                  <a:lumOff val="40000"/>
                </a:schemeClr>
              </a:solidFill>
              <a:ln>
                <a:noFill/>
              </a:ln>
              <a:effectLst/>
              <a:sp3d/>
            </c:spPr>
            <c:extLst>
              <c:ext xmlns:c16="http://schemas.microsoft.com/office/drawing/2014/chart" uri="{C3380CC4-5D6E-409C-BE32-E72D297353CC}">
                <c16:uniqueId val="{0000000D-3F81-4B27-968B-59979D5D468D}"/>
              </c:ext>
            </c:extLst>
          </c:dPt>
          <c:dPt>
            <c:idx val="7"/>
            <c:invertIfNegative val="0"/>
            <c:bubble3D val="0"/>
            <c:spPr>
              <a:solidFill>
                <a:schemeClr val="accent5">
                  <a:lumMod val="75000"/>
                </a:schemeClr>
              </a:solidFill>
              <a:ln>
                <a:noFill/>
              </a:ln>
              <a:effectLst/>
              <a:sp3d/>
            </c:spPr>
            <c:extLst>
              <c:ext xmlns:c16="http://schemas.microsoft.com/office/drawing/2014/chart" uri="{C3380CC4-5D6E-409C-BE32-E72D297353CC}">
                <c16:uniqueId val="{0000000F-3F81-4B27-968B-59979D5D468D}"/>
              </c:ext>
            </c:extLst>
          </c:dPt>
          <c:dPt>
            <c:idx val="9"/>
            <c:invertIfNegative val="0"/>
            <c:bubble3D val="0"/>
            <c:spPr>
              <a:solidFill>
                <a:schemeClr val="accent5">
                  <a:lumMod val="50000"/>
                </a:schemeClr>
              </a:solidFill>
              <a:ln>
                <a:noFill/>
              </a:ln>
              <a:effectLst/>
              <a:sp3d/>
            </c:spPr>
            <c:extLst>
              <c:ext xmlns:c16="http://schemas.microsoft.com/office/drawing/2014/chart" uri="{C3380CC4-5D6E-409C-BE32-E72D297353CC}">
                <c16:uniqueId val="{00000011-3F81-4B27-968B-59979D5D468D}"/>
              </c:ext>
            </c:extLst>
          </c:dPt>
          <c:dLbls>
            <c:dLbl>
              <c:idx val="0"/>
              <c:layout>
                <c:manualLayout>
                  <c:x val="0"/>
                  <c:y val="-0.1458947334030058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F81-4B27-968B-59979D5D468D}"/>
                </c:ext>
              </c:extLst>
            </c:dLbl>
            <c:dLbl>
              <c:idx val="1"/>
              <c:layout>
                <c:manualLayout>
                  <c:x val="-2.5357014588587537E-17"/>
                  <c:y val="-0.1365869576390817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F81-4B27-968B-59979D5D468D}"/>
                </c:ext>
              </c:extLst>
            </c:dLbl>
            <c:dLbl>
              <c:idx val="2"/>
              <c:layout>
                <c:manualLayout>
                  <c:x val="-5.0714029177175074E-17"/>
                  <c:y val="-0.1788781502543790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F81-4B27-968B-59979D5D468D}"/>
                </c:ext>
              </c:extLst>
            </c:dLbl>
            <c:dLbl>
              <c:idx val="3"/>
              <c:layout>
                <c:manualLayout>
                  <c:x val="5.0714029177175074E-17"/>
                  <c:y val="-0.211861567105752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F81-4B27-968B-59979D5D468D}"/>
                </c:ext>
              </c:extLst>
            </c:dLbl>
            <c:dLbl>
              <c:idx val="4"/>
              <c:layout>
                <c:manualLayout>
                  <c:x val="2.7662517289073307E-3"/>
                  <c:y val="-0.2537463588272864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F81-4B27-968B-59979D5D468D}"/>
                </c:ext>
              </c:extLst>
            </c:dLbl>
            <c:dLbl>
              <c:idx val="5"/>
              <c:layout>
                <c:manualLayout>
                  <c:x val="2.7662517289073307E-3"/>
                  <c:y val="-0.295631150548820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F81-4B27-968B-59979D5D468D}"/>
                </c:ext>
              </c:extLst>
            </c:dLbl>
            <c:dLbl>
              <c:idx val="6"/>
              <c:layout>
                <c:manualLayout>
                  <c:x val="0"/>
                  <c:y val="-0.3379219447318690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3F81-4B27-968B-59979D5D468D}"/>
                </c:ext>
              </c:extLst>
            </c:dLbl>
            <c:dLbl>
              <c:idx val="7"/>
              <c:layout>
                <c:manualLayout>
                  <c:x val="5.5325034578145599E-3"/>
                  <c:y val="-0.3848672244452528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3F81-4B27-968B-59979D5D468D}"/>
                </c:ext>
              </c:extLst>
            </c:dLbl>
            <c:dLbl>
              <c:idx val="8"/>
              <c:layout>
                <c:manualLayout>
                  <c:x val="5.5325034578146614E-3"/>
                  <c:y val="-0.41744424040286282"/>
                </c:manualLayout>
              </c:layout>
              <c:tx>
                <c:rich>
                  <a:bodyPr/>
                  <a:lstStyle/>
                  <a:p>
                    <a:r>
                      <a:rPr lang="en-US" dirty="0"/>
                      <a:t>18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3F81-4B27-968B-59979D5D468D}"/>
                </c:ext>
              </c:extLst>
            </c:dLbl>
            <c:dLbl>
              <c:idx val="9"/>
              <c:layout>
                <c:manualLayout>
                  <c:x val="8.2987551867218911E-3"/>
                  <c:y val="-0.42128552571342281"/>
                </c:manualLayout>
              </c:layout>
              <c:tx>
                <c:rich>
                  <a:bodyPr/>
                  <a:lstStyle/>
                  <a:p>
                    <a:r>
                      <a:rPr lang="en-US" dirty="0"/>
                      <a:t>186</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3F81-4B27-968B-59979D5D468D}"/>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B$3:$B$12</c:f>
              <c:numCache>
                <c:formatCode>General</c:formatCode>
                <c:ptCount val="10"/>
                <c:pt idx="0">
                  <c:v>2011</c:v>
                </c:pt>
                <c:pt idx="1">
                  <c:v>2012</c:v>
                </c:pt>
                <c:pt idx="2">
                  <c:v>2013</c:v>
                </c:pt>
                <c:pt idx="3">
                  <c:v>2014</c:v>
                </c:pt>
                <c:pt idx="4">
                  <c:v>2015</c:v>
                </c:pt>
                <c:pt idx="5">
                  <c:v>2016</c:v>
                </c:pt>
                <c:pt idx="6">
                  <c:v>2017</c:v>
                </c:pt>
                <c:pt idx="7">
                  <c:v>2018</c:v>
                </c:pt>
                <c:pt idx="8">
                  <c:v>2019</c:v>
                </c:pt>
                <c:pt idx="9">
                  <c:v>2020</c:v>
                </c:pt>
              </c:numCache>
            </c:numRef>
          </c:cat>
          <c:val>
            <c:numRef>
              <c:f>Sheet1!$C$3:$C$12</c:f>
              <c:numCache>
                <c:formatCode>General</c:formatCode>
                <c:ptCount val="10"/>
                <c:pt idx="0">
                  <c:v>26</c:v>
                </c:pt>
                <c:pt idx="1">
                  <c:v>29</c:v>
                </c:pt>
                <c:pt idx="2">
                  <c:v>46</c:v>
                </c:pt>
                <c:pt idx="3">
                  <c:v>65</c:v>
                </c:pt>
                <c:pt idx="4">
                  <c:v>86</c:v>
                </c:pt>
                <c:pt idx="5">
                  <c:v>110</c:v>
                </c:pt>
                <c:pt idx="6">
                  <c:v>132</c:v>
                </c:pt>
                <c:pt idx="7">
                  <c:v>157</c:v>
                </c:pt>
                <c:pt idx="8">
                  <c:v>180</c:v>
                </c:pt>
                <c:pt idx="9">
                  <c:v>184</c:v>
                </c:pt>
              </c:numCache>
            </c:numRef>
          </c:val>
          <c:extLst>
            <c:ext xmlns:c16="http://schemas.microsoft.com/office/drawing/2014/chart" uri="{C3380CC4-5D6E-409C-BE32-E72D297353CC}">
              <c16:uniqueId val="{00000013-3F81-4B27-968B-59979D5D468D}"/>
            </c:ext>
          </c:extLst>
        </c:ser>
        <c:dLbls>
          <c:showLegendKey val="0"/>
          <c:showVal val="0"/>
          <c:showCatName val="0"/>
          <c:showSerName val="0"/>
          <c:showPercent val="0"/>
          <c:showBubbleSize val="0"/>
        </c:dLbls>
        <c:gapWidth val="150"/>
        <c:gapDepth val="160"/>
        <c:shape val="box"/>
        <c:axId val="655792416"/>
        <c:axId val="655788256"/>
        <c:axId val="0"/>
      </c:bar3DChart>
      <c:catAx>
        <c:axId val="655792416"/>
        <c:scaling>
          <c:orientation val="minMax"/>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5788256"/>
        <c:crosses val="autoZero"/>
        <c:auto val="1"/>
        <c:lblAlgn val="ctr"/>
        <c:lblOffset val="100"/>
        <c:noMultiLvlLbl val="0"/>
      </c:catAx>
      <c:valAx>
        <c:axId val="65578825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557924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C90B98-D9D3-4DAD-BDBA-B8990A0BF5E2}" type="doc">
      <dgm:prSet loTypeId="urn:microsoft.com/office/officeart/2005/8/layout/balance1" loCatId="relationship" qsTypeId="urn:microsoft.com/office/officeart/2005/8/quickstyle/simple1" qsCatId="simple" csTypeId="urn:microsoft.com/office/officeart/2005/8/colors/accent3_4" csCatId="accent3" phldr="1"/>
      <dgm:spPr/>
      <dgm:t>
        <a:bodyPr/>
        <a:lstStyle/>
        <a:p>
          <a:endParaRPr lang="en-ZA"/>
        </a:p>
      </dgm:t>
    </dgm:pt>
    <dgm:pt modelId="{E5B86E06-716C-4CCE-ABC4-6B925390E901}">
      <dgm:prSet phldrT="[Text]" custT="1"/>
      <dgm:spPr>
        <a:xfrm>
          <a:off x="0" y="22559"/>
          <a:ext cx="782847" cy="149178"/>
        </a:xfrm>
        <a:prstGeom prst="roundRect">
          <a:avLst>
            <a:gd name="adj" fmla="val 10000"/>
          </a:avLst>
        </a:prstGeom>
        <a:noFill/>
        <a:ln w="25400" cap="flat" cmpd="sng" algn="ctr">
          <a:solidFill>
            <a:schemeClr val="accent1">
              <a:lumMod val="60000"/>
              <a:lumOff val="40000"/>
              <a:alpha val="90000"/>
            </a:schemeClr>
          </a:solidFill>
          <a:prstDash val="solid"/>
        </a:ln>
        <a:effectLst/>
      </dgm:spPr>
      <dgm:t>
        <a:bodyPr/>
        <a:lstStyle/>
        <a:p>
          <a:r>
            <a:rPr lang="en-ZA" sz="1000" b="1" dirty="0">
              <a:solidFill>
                <a:sysClr val="windowText" lastClr="000000">
                  <a:hueOff val="0"/>
                  <a:satOff val="0"/>
                  <a:lumOff val="0"/>
                  <a:alphaOff val="0"/>
                </a:sysClr>
              </a:solidFill>
              <a:latin typeface="Calibri"/>
              <a:ea typeface="+mn-ea"/>
              <a:cs typeface="+mn-cs"/>
            </a:rPr>
            <a:t>Strengths</a:t>
          </a:r>
        </a:p>
      </dgm:t>
    </dgm:pt>
    <dgm:pt modelId="{4E111935-AD38-41A5-A5D7-11C02C1C1070}" type="parTrans" cxnId="{0603B4EB-10A7-4063-88EC-07B4A9AAEAC1}">
      <dgm:prSet/>
      <dgm:spPr/>
      <dgm:t>
        <a:bodyPr/>
        <a:lstStyle/>
        <a:p>
          <a:endParaRPr lang="en-ZA"/>
        </a:p>
      </dgm:t>
    </dgm:pt>
    <dgm:pt modelId="{9197A02B-E628-4476-9987-F710590C8B88}" type="sibTrans" cxnId="{0603B4EB-10A7-4063-88EC-07B4A9AAEAC1}">
      <dgm:prSet/>
      <dgm:spPr/>
      <dgm:t>
        <a:bodyPr/>
        <a:lstStyle/>
        <a:p>
          <a:endParaRPr lang="en-ZA"/>
        </a:p>
      </dgm:t>
    </dgm:pt>
    <dgm:pt modelId="{F437D5E5-12AD-48DB-AE1E-79AA4A057515}">
      <dgm:prSet phldrT="[Text]"/>
      <dgm:spPr>
        <a:xfrm rot="21360000">
          <a:off x="366238" y="517420"/>
          <a:ext cx="360006" cy="255298"/>
        </a:xfrm>
        <a:prstGeom prst="roundRect">
          <a:avLst/>
        </a:prstGeom>
        <a:solidFill>
          <a:schemeClr val="accent5">
            <a:lumMod val="60000"/>
            <a:lumOff val="40000"/>
          </a:schemeClr>
        </a:solidFill>
        <a:ln w="25400" cap="flat" cmpd="sng" algn="ctr">
          <a:solidFill>
            <a:schemeClr val="accent4">
              <a:lumMod val="20000"/>
              <a:lumOff val="80000"/>
            </a:schemeClr>
          </a:solidFill>
          <a:prstDash val="solid"/>
        </a:ln>
        <a:effectLst/>
      </dgm:spPr>
      <dgm:t>
        <a:bodyPr/>
        <a:lstStyle/>
        <a:p>
          <a:r>
            <a:rPr lang="en-ZA" dirty="0">
              <a:solidFill>
                <a:sysClr val="window" lastClr="FFFFFF"/>
              </a:solidFill>
              <a:latin typeface="Calibri"/>
              <a:ea typeface="+mn-ea"/>
              <a:cs typeface="+mn-cs"/>
            </a:rPr>
            <a:t>Process</a:t>
          </a:r>
        </a:p>
      </dgm:t>
    </dgm:pt>
    <dgm:pt modelId="{618CC36A-968D-4762-B863-6E4CE0371E48}" type="parTrans" cxnId="{43E04D9A-5AB9-4AC9-B810-BCC8BCAB7F6F}">
      <dgm:prSet/>
      <dgm:spPr/>
      <dgm:t>
        <a:bodyPr/>
        <a:lstStyle/>
        <a:p>
          <a:endParaRPr lang="en-ZA"/>
        </a:p>
      </dgm:t>
    </dgm:pt>
    <dgm:pt modelId="{68394E44-F10C-4B89-9AFA-7A0FD2AF90F9}" type="sibTrans" cxnId="{43E04D9A-5AB9-4AC9-B810-BCC8BCAB7F6F}">
      <dgm:prSet/>
      <dgm:spPr/>
      <dgm:t>
        <a:bodyPr/>
        <a:lstStyle/>
        <a:p>
          <a:endParaRPr lang="en-ZA"/>
        </a:p>
      </dgm:t>
    </dgm:pt>
    <dgm:pt modelId="{A8692EFB-8D89-4CAA-9B9D-F188F864D12A}">
      <dgm:prSet phldrT="[Text]"/>
      <dgm:spPr>
        <a:xfrm rot="21360000">
          <a:off x="346808" y="253175"/>
          <a:ext cx="360006" cy="255298"/>
        </a:xfrm>
        <a:prstGeom prst="roundRect">
          <a:avLst/>
        </a:prstGeom>
        <a:solidFill>
          <a:schemeClr val="accent5">
            <a:lumMod val="40000"/>
            <a:lumOff val="60000"/>
          </a:schemeClr>
        </a:solidFill>
        <a:ln w="25400" cap="flat" cmpd="sng" algn="ctr">
          <a:solidFill>
            <a:sysClr val="window" lastClr="FFFFFF">
              <a:hueOff val="0"/>
              <a:satOff val="0"/>
              <a:lumOff val="0"/>
              <a:alphaOff val="0"/>
            </a:sysClr>
          </a:solidFill>
          <a:prstDash val="solid"/>
        </a:ln>
        <a:effectLst/>
      </dgm:spPr>
      <dgm:t>
        <a:bodyPr/>
        <a:lstStyle/>
        <a:p>
          <a:r>
            <a:rPr lang="en-ZA" dirty="0">
              <a:solidFill>
                <a:sysClr val="window" lastClr="FFFFFF"/>
              </a:solidFill>
              <a:latin typeface="Calibri"/>
              <a:ea typeface="+mn-ea"/>
              <a:cs typeface="+mn-cs"/>
            </a:rPr>
            <a:t>Employees</a:t>
          </a:r>
        </a:p>
      </dgm:t>
    </dgm:pt>
    <dgm:pt modelId="{DFC8C567-3ECA-4B4D-AB20-69BFE3855746}" type="parTrans" cxnId="{4D1332BA-385D-4550-8ABB-DEC707B9A293}">
      <dgm:prSet/>
      <dgm:spPr/>
      <dgm:t>
        <a:bodyPr/>
        <a:lstStyle/>
        <a:p>
          <a:endParaRPr lang="en-ZA"/>
        </a:p>
      </dgm:t>
    </dgm:pt>
    <dgm:pt modelId="{FC78F8C0-25C4-4E70-A670-266CA5826E64}" type="sibTrans" cxnId="{4D1332BA-385D-4550-8ABB-DEC707B9A293}">
      <dgm:prSet/>
      <dgm:spPr/>
      <dgm:t>
        <a:bodyPr/>
        <a:lstStyle/>
        <a:p>
          <a:endParaRPr lang="en-ZA"/>
        </a:p>
      </dgm:t>
    </dgm:pt>
    <dgm:pt modelId="{33AC29F3-A46A-4DB5-9A57-AEDC24E9AD3C}">
      <dgm:prSet phldrT="[Text]" custT="1"/>
      <dgm:spPr>
        <a:xfrm>
          <a:off x="810284" y="22559"/>
          <a:ext cx="782847" cy="149178"/>
        </a:xfrm>
        <a:prstGeom prst="roundRect">
          <a:avLst>
            <a:gd name="adj" fmla="val 10000"/>
          </a:avLst>
        </a:prstGeom>
        <a:noFill/>
        <a:ln w="25400" cap="flat" cmpd="sng" algn="ctr">
          <a:solidFill>
            <a:schemeClr val="accent1">
              <a:lumMod val="60000"/>
              <a:lumOff val="40000"/>
              <a:alpha val="90000"/>
            </a:schemeClr>
          </a:solidFill>
          <a:prstDash val="solid"/>
        </a:ln>
        <a:effectLst/>
      </dgm:spPr>
      <dgm:t>
        <a:bodyPr/>
        <a:lstStyle/>
        <a:p>
          <a:r>
            <a:rPr lang="en-ZA" sz="1000" b="1" dirty="0">
              <a:solidFill>
                <a:sysClr val="windowText" lastClr="000000">
                  <a:hueOff val="0"/>
                  <a:satOff val="0"/>
                  <a:lumOff val="0"/>
                  <a:alphaOff val="0"/>
                </a:sysClr>
              </a:solidFill>
              <a:latin typeface="Calibri"/>
              <a:ea typeface="+mn-ea"/>
              <a:cs typeface="+mn-cs"/>
            </a:rPr>
            <a:t>Potentials</a:t>
          </a:r>
        </a:p>
      </dgm:t>
    </dgm:pt>
    <dgm:pt modelId="{08507D4E-5AFD-4E8B-85E6-0E5D322FB6E4}" type="parTrans" cxnId="{C070AF2E-EBBB-4BB8-9119-A765CFBC4EEC}">
      <dgm:prSet/>
      <dgm:spPr/>
      <dgm:t>
        <a:bodyPr/>
        <a:lstStyle/>
        <a:p>
          <a:endParaRPr lang="en-ZA"/>
        </a:p>
      </dgm:t>
    </dgm:pt>
    <dgm:pt modelId="{C2628652-3226-49F1-AD51-A2D9BF631118}" type="sibTrans" cxnId="{C070AF2E-EBBB-4BB8-9119-A765CFBC4EEC}">
      <dgm:prSet/>
      <dgm:spPr/>
      <dgm:t>
        <a:bodyPr/>
        <a:lstStyle/>
        <a:p>
          <a:endParaRPr lang="en-ZA"/>
        </a:p>
      </dgm:t>
    </dgm:pt>
    <dgm:pt modelId="{27DFD1C1-081C-4B79-AAF2-CADF208E2D79}">
      <dgm:prSet phldrT="[Text]"/>
      <dgm:spPr>
        <a:xfrm rot="21360000">
          <a:off x="866555" y="482447"/>
          <a:ext cx="360006" cy="255298"/>
        </a:xfrm>
        <a:prstGeom prst="roundRect">
          <a:avLst/>
        </a:prstGeom>
        <a:solidFill>
          <a:schemeClr val="accent5">
            <a:lumMod val="40000"/>
            <a:lumOff val="60000"/>
          </a:schemeClr>
        </a:solidFill>
        <a:ln w="25400" cap="flat" cmpd="sng" algn="ctr">
          <a:solidFill>
            <a:sysClr val="window" lastClr="FFFFFF">
              <a:hueOff val="0"/>
              <a:satOff val="0"/>
              <a:lumOff val="0"/>
              <a:alphaOff val="0"/>
            </a:sysClr>
          </a:solidFill>
          <a:prstDash val="solid"/>
        </a:ln>
        <a:effectLst/>
      </dgm:spPr>
      <dgm:t>
        <a:bodyPr/>
        <a:lstStyle/>
        <a:p>
          <a:r>
            <a:rPr lang="en-ZA" dirty="0">
              <a:solidFill>
                <a:sysClr val="window" lastClr="FFFFFF"/>
              </a:solidFill>
              <a:latin typeface="Calibri"/>
              <a:ea typeface="+mn-ea"/>
              <a:cs typeface="+mn-cs"/>
            </a:rPr>
            <a:t>Costing</a:t>
          </a:r>
        </a:p>
      </dgm:t>
    </dgm:pt>
    <dgm:pt modelId="{A9EEA1B3-9E0E-4DE8-9CB0-EC4C2141CFB1}" type="parTrans" cxnId="{E33310C9-4A95-4819-B9B8-F5DF11EAF978}">
      <dgm:prSet/>
      <dgm:spPr/>
      <dgm:t>
        <a:bodyPr/>
        <a:lstStyle/>
        <a:p>
          <a:endParaRPr lang="en-ZA"/>
        </a:p>
      </dgm:t>
    </dgm:pt>
    <dgm:pt modelId="{8486FD67-DDC3-47FA-A879-89956056C0A7}" type="sibTrans" cxnId="{E33310C9-4A95-4819-B9B8-F5DF11EAF978}">
      <dgm:prSet/>
      <dgm:spPr/>
      <dgm:t>
        <a:bodyPr/>
        <a:lstStyle/>
        <a:p>
          <a:endParaRPr lang="en-ZA"/>
        </a:p>
      </dgm:t>
    </dgm:pt>
    <dgm:pt modelId="{1E446FE4-0353-4D10-B2F5-0DDCF6A711D0}" type="pres">
      <dgm:prSet presAssocID="{FAC90B98-D9D3-4DAD-BDBA-B8990A0BF5E2}" presName="outerComposite" presStyleCnt="0">
        <dgm:presLayoutVars>
          <dgm:chMax val="2"/>
          <dgm:animLvl val="lvl"/>
          <dgm:resizeHandles val="exact"/>
        </dgm:presLayoutVars>
      </dgm:prSet>
      <dgm:spPr/>
    </dgm:pt>
    <dgm:pt modelId="{F1B08918-B511-423E-B553-833EC83F6120}" type="pres">
      <dgm:prSet presAssocID="{FAC90B98-D9D3-4DAD-BDBA-B8990A0BF5E2}" presName="dummyMaxCanvas" presStyleCnt="0"/>
      <dgm:spPr/>
    </dgm:pt>
    <dgm:pt modelId="{B72BC56E-9C2E-44D2-9D8A-5D5217C2073B}" type="pres">
      <dgm:prSet presAssocID="{FAC90B98-D9D3-4DAD-BDBA-B8990A0BF5E2}" presName="parentComposite" presStyleCnt="0"/>
      <dgm:spPr/>
    </dgm:pt>
    <dgm:pt modelId="{D37C7932-201F-4BB7-8597-F4DB730F6FDB}" type="pres">
      <dgm:prSet presAssocID="{FAC90B98-D9D3-4DAD-BDBA-B8990A0BF5E2}" presName="parent1" presStyleLbl="alignAccFollowNode1" presStyleIdx="0" presStyleCnt="4" custScaleX="223839" custScaleY="76778" custLinFactNeighborX="-85662">
        <dgm:presLayoutVars>
          <dgm:chMax val="4"/>
        </dgm:presLayoutVars>
      </dgm:prSet>
      <dgm:spPr>
        <a:prstGeom prst="roundRect">
          <a:avLst>
            <a:gd name="adj" fmla="val 10000"/>
          </a:avLst>
        </a:prstGeom>
      </dgm:spPr>
    </dgm:pt>
    <dgm:pt modelId="{05770716-5C7C-43F9-8488-3EC83B15A271}" type="pres">
      <dgm:prSet presAssocID="{FAC90B98-D9D3-4DAD-BDBA-B8990A0BF5E2}" presName="parent2" presStyleLbl="alignAccFollowNode1" presStyleIdx="1" presStyleCnt="4" custScaleX="223839" custScaleY="76778" custLinFactNeighborX="40195">
        <dgm:presLayoutVars>
          <dgm:chMax val="4"/>
        </dgm:presLayoutVars>
      </dgm:prSet>
      <dgm:spPr>
        <a:prstGeom prst="roundRect">
          <a:avLst>
            <a:gd name="adj" fmla="val 10000"/>
          </a:avLst>
        </a:prstGeom>
      </dgm:spPr>
    </dgm:pt>
    <dgm:pt modelId="{FA02034E-AC17-4C2D-9DEF-9EED2F18CA0A}" type="pres">
      <dgm:prSet presAssocID="{FAC90B98-D9D3-4DAD-BDBA-B8990A0BF5E2}" presName="childrenComposite" presStyleCnt="0"/>
      <dgm:spPr/>
    </dgm:pt>
    <dgm:pt modelId="{3753E43C-211D-46D4-AD80-D4C61F31798A}" type="pres">
      <dgm:prSet presAssocID="{FAC90B98-D9D3-4DAD-BDBA-B8990A0BF5E2}" presName="dummyMaxCanvas_ChildArea" presStyleCnt="0"/>
      <dgm:spPr/>
    </dgm:pt>
    <dgm:pt modelId="{8B0D6781-7ADE-4DCD-8845-EC5284D3F120}" type="pres">
      <dgm:prSet presAssocID="{FAC90B98-D9D3-4DAD-BDBA-B8990A0BF5E2}" presName="fulcrum" presStyleLbl="alignAccFollowNode1" presStyleIdx="2" presStyleCnt="4"/>
      <dgm:spPr>
        <a:xfrm>
          <a:off x="735682" y="825767"/>
          <a:ext cx="145723" cy="145723"/>
        </a:xfrm>
        <a:prstGeom prst="triangle">
          <a:avLst/>
        </a:prstGeom>
        <a:solidFill>
          <a:srgbClr val="F2F2F2">
            <a:lumMod val="25000"/>
            <a:alpha val="90000"/>
          </a:srgbClr>
        </a:solidFill>
        <a:ln w="25400" cap="flat" cmpd="sng" algn="ctr">
          <a:solidFill>
            <a:srgbClr val="C3D69B">
              <a:alpha val="90000"/>
              <a:tint val="55000"/>
              <a:hueOff val="0"/>
              <a:satOff val="0"/>
              <a:lumOff val="0"/>
              <a:alphaOff val="0"/>
            </a:srgbClr>
          </a:solidFill>
          <a:prstDash val="solid"/>
        </a:ln>
        <a:effectLst/>
      </dgm:spPr>
    </dgm:pt>
    <dgm:pt modelId="{161D4E06-F657-41E5-AE75-276F9743EB77}" type="pres">
      <dgm:prSet presAssocID="{FAC90B98-D9D3-4DAD-BDBA-B8990A0BF5E2}" presName="balance_21" presStyleLbl="alignAccFollowNode1" presStyleIdx="3" presStyleCnt="4">
        <dgm:presLayoutVars>
          <dgm:bulletEnabled val="1"/>
        </dgm:presLayoutVars>
      </dgm:prSet>
      <dgm:spPr>
        <a:xfrm rot="21360000">
          <a:off x="371239" y="763323"/>
          <a:ext cx="874608" cy="61158"/>
        </a:xfrm>
        <a:prstGeom prst="rect">
          <a:avLst/>
        </a:prstGeom>
        <a:solidFill>
          <a:srgbClr val="F2F2F2">
            <a:lumMod val="25000"/>
            <a:alpha val="90000"/>
          </a:srgbClr>
        </a:solidFill>
        <a:ln w="25400" cap="flat" cmpd="sng" algn="ctr">
          <a:solidFill>
            <a:srgbClr val="C3D69B">
              <a:alpha val="90000"/>
              <a:tint val="55000"/>
              <a:hueOff val="0"/>
              <a:satOff val="0"/>
              <a:lumOff val="0"/>
              <a:alphaOff val="0"/>
            </a:srgbClr>
          </a:solidFill>
          <a:prstDash val="solid"/>
        </a:ln>
        <a:effectLst/>
      </dgm:spPr>
    </dgm:pt>
    <dgm:pt modelId="{FBCBD1B4-B381-4407-B147-D564262222AA}" type="pres">
      <dgm:prSet presAssocID="{FAC90B98-D9D3-4DAD-BDBA-B8990A0BF5E2}" presName="left_21_1" presStyleLbl="node1" presStyleIdx="0" presStyleCnt="3">
        <dgm:presLayoutVars>
          <dgm:bulletEnabled val="1"/>
        </dgm:presLayoutVars>
      </dgm:prSet>
      <dgm:spPr>
        <a:prstGeom prst="roundRect">
          <a:avLst/>
        </a:prstGeom>
      </dgm:spPr>
    </dgm:pt>
    <dgm:pt modelId="{47F9742C-8F22-43D9-99D5-48E27D171BD7}" type="pres">
      <dgm:prSet presAssocID="{FAC90B98-D9D3-4DAD-BDBA-B8990A0BF5E2}" presName="left_21_2" presStyleLbl="node1" presStyleIdx="1" presStyleCnt="3">
        <dgm:presLayoutVars>
          <dgm:bulletEnabled val="1"/>
        </dgm:presLayoutVars>
      </dgm:prSet>
      <dgm:spPr>
        <a:prstGeom prst="roundRect">
          <a:avLst/>
        </a:prstGeom>
      </dgm:spPr>
    </dgm:pt>
    <dgm:pt modelId="{633D4ADC-EC46-4714-86C6-9C24BCCBB36C}" type="pres">
      <dgm:prSet presAssocID="{FAC90B98-D9D3-4DAD-BDBA-B8990A0BF5E2}" presName="right_21_1" presStyleLbl="node1" presStyleIdx="2" presStyleCnt="3">
        <dgm:presLayoutVars>
          <dgm:bulletEnabled val="1"/>
        </dgm:presLayoutVars>
      </dgm:prSet>
      <dgm:spPr>
        <a:prstGeom prst="roundRect">
          <a:avLst/>
        </a:prstGeom>
      </dgm:spPr>
    </dgm:pt>
  </dgm:ptLst>
  <dgm:cxnLst>
    <dgm:cxn modelId="{9FB99C2A-FC17-4BD5-8041-EECEFBC322BD}" type="presOf" srcId="{A8692EFB-8D89-4CAA-9B9D-F188F864D12A}" destId="{47F9742C-8F22-43D9-99D5-48E27D171BD7}" srcOrd="0" destOrd="0" presId="urn:microsoft.com/office/officeart/2005/8/layout/balance1"/>
    <dgm:cxn modelId="{C070AF2E-EBBB-4BB8-9119-A765CFBC4EEC}" srcId="{FAC90B98-D9D3-4DAD-BDBA-B8990A0BF5E2}" destId="{33AC29F3-A46A-4DB5-9A57-AEDC24E9AD3C}" srcOrd="1" destOrd="0" parTransId="{08507D4E-5AFD-4E8B-85E6-0E5D322FB6E4}" sibTransId="{C2628652-3226-49F1-AD51-A2D9BF631118}"/>
    <dgm:cxn modelId="{DD379960-F4C3-4415-A081-A062B48E7535}" type="presOf" srcId="{E5B86E06-716C-4CCE-ABC4-6B925390E901}" destId="{D37C7932-201F-4BB7-8597-F4DB730F6FDB}" srcOrd="0" destOrd="0" presId="urn:microsoft.com/office/officeart/2005/8/layout/balance1"/>
    <dgm:cxn modelId="{97FC684B-5BB0-448B-9042-E7B3F4508EFA}" type="presOf" srcId="{FAC90B98-D9D3-4DAD-BDBA-B8990A0BF5E2}" destId="{1E446FE4-0353-4D10-B2F5-0DDCF6A711D0}" srcOrd="0" destOrd="0" presId="urn:microsoft.com/office/officeart/2005/8/layout/balance1"/>
    <dgm:cxn modelId="{B71DF451-937A-4AE2-8863-AAEC1ADBBB39}" type="presOf" srcId="{F437D5E5-12AD-48DB-AE1E-79AA4A057515}" destId="{FBCBD1B4-B381-4407-B147-D564262222AA}" srcOrd="0" destOrd="0" presId="urn:microsoft.com/office/officeart/2005/8/layout/balance1"/>
    <dgm:cxn modelId="{43E04D9A-5AB9-4AC9-B810-BCC8BCAB7F6F}" srcId="{E5B86E06-716C-4CCE-ABC4-6B925390E901}" destId="{F437D5E5-12AD-48DB-AE1E-79AA4A057515}" srcOrd="0" destOrd="0" parTransId="{618CC36A-968D-4762-B863-6E4CE0371E48}" sibTransId="{68394E44-F10C-4B89-9AFA-7A0FD2AF90F9}"/>
    <dgm:cxn modelId="{4D1332BA-385D-4550-8ABB-DEC707B9A293}" srcId="{E5B86E06-716C-4CCE-ABC4-6B925390E901}" destId="{A8692EFB-8D89-4CAA-9B9D-F188F864D12A}" srcOrd="1" destOrd="0" parTransId="{DFC8C567-3ECA-4B4D-AB20-69BFE3855746}" sibTransId="{FC78F8C0-25C4-4E70-A670-266CA5826E64}"/>
    <dgm:cxn modelId="{E33310C9-4A95-4819-B9B8-F5DF11EAF978}" srcId="{33AC29F3-A46A-4DB5-9A57-AEDC24E9AD3C}" destId="{27DFD1C1-081C-4B79-AAF2-CADF208E2D79}" srcOrd="0" destOrd="0" parTransId="{A9EEA1B3-9E0E-4DE8-9CB0-EC4C2141CFB1}" sibTransId="{8486FD67-DDC3-47FA-A879-89956056C0A7}"/>
    <dgm:cxn modelId="{0603B4EB-10A7-4063-88EC-07B4A9AAEAC1}" srcId="{FAC90B98-D9D3-4DAD-BDBA-B8990A0BF5E2}" destId="{E5B86E06-716C-4CCE-ABC4-6B925390E901}" srcOrd="0" destOrd="0" parTransId="{4E111935-AD38-41A5-A5D7-11C02C1C1070}" sibTransId="{9197A02B-E628-4476-9987-F710590C8B88}"/>
    <dgm:cxn modelId="{9EFB0BF4-9097-4241-83D3-37A2588B7746}" type="presOf" srcId="{27DFD1C1-081C-4B79-AAF2-CADF208E2D79}" destId="{633D4ADC-EC46-4714-86C6-9C24BCCBB36C}" srcOrd="0" destOrd="0" presId="urn:microsoft.com/office/officeart/2005/8/layout/balance1"/>
    <dgm:cxn modelId="{9F80C7FC-90F1-4300-BF62-7FBC3937E601}" type="presOf" srcId="{33AC29F3-A46A-4DB5-9A57-AEDC24E9AD3C}" destId="{05770716-5C7C-43F9-8488-3EC83B15A271}" srcOrd="0" destOrd="0" presId="urn:microsoft.com/office/officeart/2005/8/layout/balance1"/>
    <dgm:cxn modelId="{5EF673D5-B305-44B7-ACB8-E3AD8BCB4DB4}" type="presParOf" srcId="{1E446FE4-0353-4D10-B2F5-0DDCF6A711D0}" destId="{F1B08918-B511-423E-B553-833EC83F6120}" srcOrd="0" destOrd="0" presId="urn:microsoft.com/office/officeart/2005/8/layout/balance1"/>
    <dgm:cxn modelId="{CE083C37-931F-4428-93EC-32EE82C22614}" type="presParOf" srcId="{1E446FE4-0353-4D10-B2F5-0DDCF6A711D0}" destId="{B72BC56E-9C2E-44D2-9D8A-5D5217C2073B}" srcOrd="1" destOrd="0" presId="urn:microsoft.com/office/officeart/2005/8/layout/balance1"/>
    <dgm:cxn modelId="{6F488DF6-7F71-454B-B4A7-A0D101AA2BE2}" type="presParOf" srcId="{B72BC56E-9C2E-44D2-9D8A-5D5217C2073B}" destId="{D37C7932-201F-4BB7-8597-F4DB730F6FDB}" srcOrd="0" destOrd="0" presId="urn:microsoft.com/office/officeart/2005/8/layout/balance1"/>
    <dgm:cxn modelId="{1EB2EEBB-36A5-4AA1-8BCB-D947B8E3DF42}" type="presParOf" srcId="{B72BC56E-9C2E-44D2-9D8A-5D5217C2073B}" destId="{05770716-5C7C-43F9-8488-3EC83B15A271}" srcOrd="1" destOrd="0" presId="urn:microsoft.com/office/officeart/2005/8/layout/balance1"/>
    <dgm:cxn modelId="{1C5B1239-E3CA-463F-ACE6-8904EFCB27A3}" type="presParOf" srcId="{1E446FE4-0353-4D10-B2F5-0DDCF6A711D0}" destId="{FA02034E-AC17-4C2D-9DEF-9EED2F18CA0A}" srcOrd="2" destOrd="0" presId="urn:microsoft.com/office/officeart/2005/8/layout/balance1"/>
    <dgm:cxn modelId="{FAA6B589-1B72-4C48-847A-C83772B7FB61}" type="presParOf" srcId="{FA02034E-AC17-4C2D-9DEF-9EED2F18CA0A}" destId="{3753E43C-211D-46D4-AD80-D4C61F31798A}" srcOrd="0" destOrd="0" presId="urn:microsoft.com/office/officeart/2005/8/layout/balance1"/>
    <dgm:cxn modelId="{0FF9B2F4-23B3-4E5B-9BFF-F88234888C19}" type="presParOf" srcId="{FA02034E-AC17-4C2D-9DEF-9EED2F18CA0A}" destId="{8B0D6781-7ADE-4DCD-8845-EC5284D3F120}" srcOrd="1" destOrd="0" presId="urn:microsoft.com/office/officeart/2005/8/layout/balance1"/>
    <dgm:cxn modelId="{304CA21D-372A-4516-8A6A-C6C2C41FB3C9}" type="presParOf" srcId="{FA02034E-AC17-4C2D-9DEF-9EED2F18CA0A}" destId="{161D4E06-F657-41E5-AE75-276F9743EB77}" srcOrd="2" destOrd="0" presId="urn:microsoft.com/office/officeart/2005/8/layout/balance1"/>
    <dgm:cxn modelId="{01AC4AD8-017E-49C6-B66F-FA590343C74E}" type="presParOf" srcId="{FA02034E-AC17-4C2D-9DEF-9EED2F18CA0A}" destId="{FBCBD1B4-B381-4407-B147-D564262222AA}" srcOrd="3" destOrd="0" presId="urn:microsoft.com/office/officeart/2005/8/layout/balance1"/>
    <dgm:cxn modelId="{79F598B6-AEC0-4B7B-97AD-9CAC1CB0F171}" type="presParOf" srcId="{FA02034E-AC17-4C2D-9DEF-9EED2F18CA0A}" destId="{47F9742C-8F22-43D9-99D5-48E27D171BD7}" srcOrd="4" destOrd="0" presId="urn:microsoft.com/office/officeart/2005/8/layout/balance1"/>
    <dgm:cxn modelId="{D6304DCD-9E3A-45B6-90FF-59439EEBE10C}" type="presParOf" srcId="{FA02034E-AC17-4C2D-9DEF-9EED2F18CA0A}" destId="{633D4ADC-EC46-4714-86C6-9C24BCCBB36C}" srcOrd="5" destOrd="0" presId="urn:microsoft.com/office/officeart/2005/8/layout/balance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7C7932-201F-4BB7-8597-F4DB730F6FDB}">
      <dsp:nvSpPr>
        <dsp:cNvPr id="0" name=""/>
        <dsp:cNvSpPr/>
      </dsp:nvSpPr>
      <dsp:spPr>
        <a:xfrm>
          <a:off x="0" y="22559"/>
          <a:ext cx="782847" cy="149178"/>
        </a:xfrm>
        <a:prstGeom prst="roundRect">
          <a:avLst>
            <a:gd name="adj" fmla="val 10000"/>
          </a:avLst>
        </a:prstGeom>
        <a:noFill/>
        <a:ln w="25400" cap="flat" cmpd="sng" algn="ctr">
          <a:solidFill>
            <a:schemeClr val="accent1">
              <a:lumMod val="60000"/>
              <a:lumOff val="40000"/>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ZA" sz="1000" b="1" kern="1200" dirty="0">
              <a:solidFill>
                <a:sysClr val="windowText" lastClr="000000">
                  <a:hueOff val="0"/>
                  <a:satOff val="0"/>
                  <a:lumOff val="0"/>
                  <a:alphaOff val="0"/>
                </a:sysClr>
              </a:solidFill>
              <a:latin typeface="Calibri"/>
              <a:ea typeface="+mn-ea"/>
              <a:cs typeface="+mn-cs"/>
            </a:rPr>
            <a:t>Strengths</a:t>
          </a:r>
        </a:p>
      </dsp:txBody>
      <dsp:txXfrm>
        <a:off x="4369" y="26928"/>
        <a:ext cx="774109" cy="140440"/>
      </dsp:txXfrm>
    </dsp:sp>
    <dsp:sp modelId="{05770716-5C7C-43F9-8488-3EC83B15A271}">
      <dsp:nvSpPr>
        <dsp:cNvPr id="0" name=""/>
        <dsp:cNvSpPr/>
      </dsp:nvSpPr>
      <dsp:spPr>
        <a:xfrm>
          <a:off x="810284" y="22559"/>
          <a:ext cx="782847" cy="149178"/>
        </a:xfrm>
        <a:prstGeom prst="roundRect">
          <a:avLst>
            <a:gd name="adj" fmla="val 10000"/>
          </a:avLst>
        </a:prstGeom>
        <a:noFill/>
        <a:ln w="25400" cap="flat" cmpd="sng" algn="ctr">
          <a:solidFill>
            <a:schemeClr val="accent1">
              <a:lumMod val="60000"/>
              <a:lumOff val="40000"/>
              <a:alpha val="9000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ZA" sz="1000" b="1" kern="1200" dirty="0">
              <a:solidFill>
                <a:sysClr val="windowText" lastClr="000000">
                  <a:hueOff val="0"/>
                  <a:satOff val="0"/>
                  <a:lumOff val="0"/>
                  <a:alphaOff val="0"/>
                </a:sysClr>
              </a:solidFill>
              <a:latin typeface="Calibri"/>
              <a:ea typeface="+mn-ea"/>
              <a:cs typeface="+mn-cs"/>
            </a:rPr>
            <a:t>Potentials</a:t>
          </a:r>
        </a:p>
      </dsp:txBody>
      <dsp:txXfrm>
        <a:off x="814653" y="26928"/>
        <a:ext cx="774109" cy="140440"/>
      </dsp:txXfrm>
    </dsp:sp>
    <dsp:sp modelId="{8B0D6781-7ADE-4DCD-8845-EC5284D3F120}">
      <dsp:nvSpPr>
        <dsp:cNvPr id="0" name=""/>
        <dsp:cNvSpPr/>
      </dsp:nvSpPr>
      <dsp:spPr>
        <a:xfrm>
          <a:off x="735682" y="825767"/>
          <a:ext cx="145723" cy="145723"/>
        </a:xfrm>
        <a:prstGeom prst="triangle">
          <a:avLst/>
        </a:prstGeom>
        <a:solidFill>
          <a:srgbClr val="F2F2F2">
            <a:lumMod val="25000"/>
            <a:alpha val="90000"/>
          </a:srgbClr>
        </a:solidFill>
        <a:ln w="25400" cap="flat" cmpd="sng" algn="ctr">
          <a:solidFill>
            <a:srgbClr val="C3D69B">
              <a:alpha val="90000"/>
              <a:tint val="55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161D4E06-F657-41E5-AE75-276F9743EB77}">
      <dsp:nvSpPr>
        <dsp:cNvPr id="0" name=""/>
        <dsp:cNvSpPr/>
      </dsp:nvSpPr>
      <dsp:spPr>
        <a:xfrm rot="21360000">
          <a:off x="371239" y="763323"/>
          <a:ext cx="874608" cy="61158"/>
        </a:xfrm>
        <a:prstGeom prst="rect">
          <a:avLst/>
        </a:prstGeom>
        <a:solidFill>
          <a:srgbClr val="F2F2F2">
            <a:lumMod val="25000"/>
            <a:alpha val="90000"/>
          </a:srgbClr>
        </a:solidFill>
        <a:ln w="25400" cap="flat" cmpd="sng" algn="ctr">
          <a:solidFill>
            <a:srgbClr val="C3D69B">
              <a:alpha val="90000"/>
              <a:tint val="55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FBCBD1B4-B381-4407-B147-D564262222AA}">
      <dsp:nvSpPr>
        <dsp:cNvPr id="0" name=""/>
        <dsp:cNvSpPr/>
      </dsp:nvSpPr>
      <dsp:spPr>
        <a:xfrm rot="21360000">
          <a:off x="366238" y="517420"/>
          <a:ext cx="360006" cy="255298"/>
        </a:xfrm>
        <a:prstGeom prst="roundRect">
          <a:avLst/>
        </a:prstGeom>
        <a:solidFill>
          <a:schemeClr val="accent5">
            <a:lumMod val="60000"/>
            <a:lumOff val="40000"/>
          </a:schemeClr>
        </a:solidFill>
        <a:ln w="25400" cap="flat" cmpd="sng" algn="ctr">
          <a:solidFill>
            <a:schemeClr val="accent4">
              <a:lumMod val="20000"/>
              <a:lumOff val="8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ZA" sz="500" kern="1200" dirty="0">
              <a:solidFill>
                <a:sysClr val="window" lastClr="FFFFFF"/>
              </a:solidFill>
              <a:latin typeface="Calibri"/>
              <a:ea typeface="+mn-ea"/>
              <a:cs typeface="+mn-cs"/>
            </a:rPr>
            <a:t>Process</a:t>
          </a:r>
        </a:p>
      </dsp:txBody>
      <dsp:txXfrm>
        <a:off x="378701" y="529883"/>
        <a:ext cx="335080" cy="230372"/>
      </dsp:txXfrm>
    </dsp:sp>
    <dsp:sp modelId="{47F9742C-8F22-43D9-99D5-48E27D171BD7}">
      <dsp:nvSpPr>
        <dsp:cNvPr id="0" name=""/>
        <dsp:cNvSpPr/>
      </dsp:nvSpPr>
      <dsp:spPr>
        <a:xfrm rot="21360000">
          <a:off x="346808" y="253175"/>
          <a:ext cx="360006" cy="255298"/>
        </a:xfrm>
        <a:prstGeom prst="roundRect">
          <a:avLst/>
        </a:prstGeom>
        <a:solidFill>
          <a:schemeClr val="accent5">
            <a:lumMod val="40000"/>
            <a:lumOff val="60000"/>
          </a:scheme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ZA" sz="500" kern="1200" dirty="0">
              <a:solidFill>
                <a:sysClr val="window" lastClr="FFFFFF"/>
              </a:solidFill>
              <a:latin typeface="Calibri"/>
              <a:ea typeface="+mn-ea"/>
              <a:cs typeface="+mn-cs"/>
            </a:rPr>
            <a:t>Employees</a:t>
          </a:r>
        </a:p>
      </dsp:txBody>
      <dsp:txXfrm>
        <a:off x="359271" y="265638"/>
        <a:ext cx="335080" cy="230372"/>
      </dsp:txXfrm>
    </dsp:sp>
    <dsp:sp modelId="{633D4ADC-EC46-4714-86C6-9C24BCCBB36C}">
      <dsp:nvSpPr>
        <dsp:cNvPr id="0" name=""/>
        <dsp:cNvSpPr/>
      </dsp:nvSpPr>
      <dsp:spPr>
        <a:xfrm rot="21360000">
          <a:off x="866555" y="482447"/>
          <a:ext cx="360006" cy="255298"/>
        </a:xfrm>
        <a:prstGeom prst="roundRect">
          <a:avLst/>
        </a:prstGeom>
        <a:solidFill>
          <a:schemeClr val="accent5">
            <a:lumMod val="40000"/>
            <a:lumOff val="60000"/>
          </a:schemeClr>
        </a:solidFill>
        <a:ln w="254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lang="en-ZA" sz="500" kern="1200" dirty="0">
              <a:solidFill>
                <a:sysClr val="window" lastClr="FFFFFF"/>
              </a:solidFill>
              <a:latin typeface="Calibri"/>
              <a:ea typeface="+mn-ea"/>
              <a:cs typeface="+mn-cs"/>
            </a:rPr>
            <a:t>Costing</a:t>
          </a:r>
        </a:p>
      </dsp:txBody>
      <dsp:txXfrm>
        <a:off x="879018" y="494910"/>
        <a:ext cx="335080" cy="230372"/>
      </dsp:txXfrm>
    </dsp:sp>
  </dsp:spTree>
</dsp:drawing>
</file>

<file path=ppt/diagrams/layout1.xml><?xml version="1.0" encoding="utf-8"?>
<dgm:layoutDef xmlns:dgm="http://schemas.openxmlformats.org/drawingml/2006/diagram" xmlns:a="http://schemas.openxmlformats.org/drawingml/2006/main" uniqueId="urn:microsoft.com/office/officeart/2005/8/layout/balance1">
  <dgm:title val=""/>
  <dgm:desc val=""/>
  <dgm:catLst>
    <dgm:cat type="relationship" pri="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23">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25" srcId="2" destId="23" srcOrd="0" destOrd="0"/>
      </dgm:cxnLst>
      <dgm:bg/>
      <dgm:whole/>
    </dgm:dataModel>
  </dgm:sampData>
  <dgm:styleData>
    <dgm:dataModel>
      <dgm:ptLst>
        <dgm:pt modelId="0" type="doc"/>
        <dgm:pt modelId="1"/>
        <dgm:pt modelId="11"/>
        <dgm:pt modelId="12"/>
        <dgm:pt modelId="2"/>
        <dgm:pt modelId="21"/>
        <dgm:pt modelId="22"/>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tyleData>
  <dgm:clrData>
    <dgm:dataModel>
      <dgm:ptLst>
        <dgm:pt modelId="0" type="doc"/>
        <dgm:pt modelId="1"/>
        <dgm:pt modelId="11"/>
        <dgm:pt modelId="12"/>
        <dgm:pt modelId="13"/>
        <dgm:pt modelId="2"/>
        <dgm:pt modelId="21"/>
        <dgm:pt modelId="22"/>
        <dgm:pt modelId="23"/>
      </dgm:ptLst>
      <dgm:cxnLst>
        <dgm:cxn modelId="4" srcId="0" destId="1" srcOrd="0" destOrd="0"/>
        <dgm:cxn modelId="5" srcId="0" destId="2" srcOrd="1" destOrd="0"/>
        <dgm:cxn modelId="15" srcId="1" destId="11" srcOrd="0" destOrd="0"/>
        <dgm:cxn modelId="16" srcId="1" destId="12" srcOrd="0" destOrd="0"/>
        <dgm:cxn modelId="17" srcId="1" destId="13" srcOrd="0" destOrd="0"/>
        <dgm:cxn modelId="25" srcId="2" destId="21" srcOrd="0" destOrd="0"/>
        <dgm:cxn modelId="26" srcId="2" destId="22" srcOrd="0" destOrd="0"/>
        <dgm:cxn modelId="27" srcId="2" destId="23" srcOrd="0" destOrd="0"/>
      </dgm:cxnLst>
      <dgm:bg/>
      <dgm:whole/>
    </dgm:dataModel>
  </dgm:clrData>
  <dgm:layoutNode name="outerComposite">
    <dgm:varLst>
      <dgm:chMax val="2"/>
      <dgm:animLvl val="lvl"/>
      <dgm:resizeHandles val="exact"/>
    </dgm:varLst>
    <dgm:alg type="composite">
      <dgm:param type="ar" val="1"/>
    </dgm:alg>
    <dgm:shape xmlns:r="http://schemas.openxmlformats.org/officeDocument/2006/relationships" r:blip="">
      <dgm:adjLst/>
    </dgm:shape>
    <dgm:presOf/>
    <dgm:constrLst>
      <dgm:constr type="h" for="ch" forName="parentComposite" refType="h" refFor="ch" refForName="dummyMaxCanvas" op="equ" fact="0.2"/>
      <dgm:constr type="t" for="ch" forName="parentComposite"/>
      <dgm:constr type="h" for="ch" forName="childrenComposite" refType="h" refFor="ch" refForName="dummyMaxCanvas" op="equ" fact="0.8"/>
      <dgm:constr type="t" for="ch" forName="childrenComposite" refType="h" refFor="ch" refForName="dummyMaxCanvas" fact="0.2"/>
    </dgm:constrLst>
    <dgm:ruleLst/>
    <dgm:layoutNode name="dummyMaxCanvas">
      <dgm:alg type="sp"/>
      <dgm:shape xmlns:r="http://schemas.openxmlformats.org/officeDocument/2006/relationships" r:blip="">
        <dgm:adjLst/>
      </dgm:shape>
      <dgm:presOf/>
      <dgm:constrLst/>
      <dgm:ruleLst/>
    </dgm:layoutNode>
    <dgm:layoutNode name="parentComposite">
      <dgm:alg type="composite"/>
      <dgm:shape xmlns:r="http://schemas.openxmlformats.org/officeDocument/2006/relationships" r:blip="">
        <dgm:adjLst/>
      </dgm:shape>
      <dgm:presOf/>
      <dgm:constrLst>
        <dgm:constr type="w" for="ch" forName="parent1" refType="w" fact="0.36"/>
        <dgm:constr type="ctrX" for="ch" forName="parent1" refType="w" fact="0.24"/>
        <dgm:constr type="w" for="ch" forName="parent2" refType="w" fact="0.36"/>
        <dgm:constr type="ctrX" for="ch" forName="parent2" refType="w" fact="0.76"/>
        <dgm:constr type="primFontSz" for="ch" ptType="node" op="equ"/>
      </dgm:constrLst>
      <dgm:ruleLst/>
      <dgm:layoutNode name="parent1" styleLbl="alignAccFollowNode1">
        <dgm:varLst>
          <dgm:chMax val="4"/>
        </dgm:varLst>
        <dgm:alg type="tx"/>
        <dgm:shape xmlns:r="http://schemas.openxmlformats.org/officeDocument/2006/relationships" type="roundRect" r:blip="">
          <dgm:adjLst>
            <dgm:adj idx="1" val="0.1"/>
          </dgm:adjLst>
        </dgm:shape>
        <dgm:presOf axis="ch" ptType="node"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2" styleLbl="alignAccFollowNode1">
        <dgm:varLst>
          <dgm:chMax val="4"/>
        </dgm:varLst>
        <dgm:alg type="tx"/>
        <dgm:shape xmlns:r="http://schemas.openxmlformats.org/officeDocument/2006/relationships" type="roundRect" r:blip="">
          <dgm:adjLst>
            <dgm:adj idx="1" val="0.1"/>
          </dgm:adjLst>
        </dgm:shape>
        <dgm:presOf axis="ch" ptType="node" st="2" cnt="1"/>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name="childrenComposite">
      <dgm:alg type="composite"/>
      <dgm:shape xmlns:r="http://schemas.openxmlformats.org/officeDocument/2006/relationships" r:blip="">
        <dgm:adjLst/>
      </dgm:shape>
      <dgm:presOf/>
      <dgm:constrLst>
        <dgm:constr type="primFontSz" for="ch" ptType="node" op="equ" val="65"/>
        <dgm:constr type="w" for="ch" forName="fulcrum" refType="w" fact="0.15"/>
        <dgm:constr type="h" for="ch" forName="fulcrum" refType="w" refFor="ch" refForName="fulcrum"/>
        <dgm:constr type="b" for="ch" forName="fulcrum" refType="h"/>
        <dgm:constr type="ctrX" for="ch" forName="fulcrum" refType="w" fact="0.5"/>
        <dgm:constr type="w" for="ch" forName="balance_00" refType="w" fact="0.9"/>
        <dgm:constr type="h" for="ch" forName="balance_00" refType="h" fact="0.076"/>
        <dgm:constr type="b" for="ch" forName="balance_00" refType="h" fact="0.81"/>
        <dgm:constr type="ctrX" for="ch" forName="balance_00" refType="w" fact="0.5"/>
        <dgm:constr type="w" for="ch" forName="balance_01" refType="w"/>
        <dgm:constr type="h" for="ch" forName="balance_01" refType="h" fact="0.157"/>
        <dgm:constr type="b" for="ch" forName="balance_01" refType="h" fact="0.85"/>
        <dgm:constr type="ctrX" for="ch" forName="balance_01" refType="w" fact="0.5"/>
        <dgm:constr type="w" for="ch" forName="balance_02" refType="w"/>
        <dgm:constr type="h" for="ch" forName="balance_02" refType="h" fact="0.157"/>
        <dgm:constr type="b" for="ch" forName="balance_02" refType="h" fact="0.85"/>
        <dgm:constr type="ctrX" for="ch" forName="balance_02" refType="w" fact="0.5"/>
        <dgm:constr type="w" for="ch" forName="balance_03" refType="w"/>
        <dgm:constr type="h" for="ch" forName="balance_03" refType="h" fact="0.157"/>
        <dgm:constr type="b" for="ch" forName="balance_03" refType="h" fact="0.85"/>
        <dgm:constr type="ctrX" for="ch" forName="balance_03" refType="w" fact="0.5"/>
        <dgm:constr type="w" for="ch" forName="balance_04" refType="w"/>
        <dgm:constr type="h" for="ch" forName="balance_04" refType="h" fact="0.157"/>
        <dgm:constr type="b" for="ch" forName="balance_04" refType="h" fact="0.85"/>
        <dgm:constr type="ctrX" for="ch" forName="balance_04" refType="w" fact="0.5"/>
        <dgm:constr type="w" for="ch" forName="balance_10" refType="w"/>
        <dgm:constr type="h" for="ch" forName="balance_10" refType="h" fact="0.157"/>
        <dgm:constr type="b" for="ch" forName="balance_10" refType="h" fact="0.85"/>
        <dgm:constr type="ctrX" for="ch" forName="balance_10" refType="w" fact="0.5"/>
        <dgm:constr type="w" for="ch" forName="balance_11" refType="w" fact="0.9"/>
        <dgm:constr type="h" for="ch" forName="balance_11" refType="h" fact="0.076"/>
        <dgm:constr type="b" for="ch" forName="balance_11" refType="h" fact="0.81"/>
        <dgm:constr type="ctrX" for="ch" forName="balance_11" refType="w" fact="0.5"/>
        <dgm:constr type="w" for="ch" forName="balance_12" refType="w"/>
        <dgm:constr type="h" for="ch" forName="balance_12" refType="h" fact="0.157"/>
        <dgm:constr type="b" for="ch" forName="balance_12" refType="h" fact="0.85"/>
        <dgm:constr type="ctrX" for="ch" forName="balance_12" refType="w" fact="0.5"/>
        <dgm:constr type="w" for="ch" forName="balance_13" refType="w"/>
        <dgm:constr type="h" for="ch" forName="balance_13" refType="h" fact="0.157"/>
        <dgm:constr type="b" for="ch" forName="balance_13" refType="h" fact="0.85"/>
        <dgm:constr type="ctrX" for="ch" forName="balance_13" refType="w" fact="0.5"/>
        <dgm:constr type="w" for="ch" forName="balance_14" refType="w"/>
        <dgm:constr type="h" for="ch" forName="balance_14" refType="h" fact="0.157"/>
        <dgm:constr type="b" for="ch" forName="balance_14" refType="h" fact="0.85"/>
        <dgm:constr type="ctrX" for="ch" forName="balance_14" refType="w" fact="0.5"/>
        <dgm:constr type="w" for="ch" forName="balance_20" refType="w"/>
        <dgm:constr type="h" for="ch" forName="balance_20" refType="h" fact="0.157"/>
        <dgm:constr type="b" for="ch" forName="balance_20" refType="h" fact="0.85"/>
        <dgm:constr type="ctrX" for="ch" forName="balance_20" refType="w" fact="0.5"/>
        <dgm:constr type="w" for="ch" forName="balance_21" refType="w"/>
        <dgm:constr type="h" for="ch" forName="balance_21" refType="h" fact="0.157"/>
        <dgm:constr type="b" for="ch" forName="balance_21" refType="h" fact="0.85"/>
        <dgm:constr type="ctrX" for="ch" forName="balance_21" refType="w" fact="0.5"/>
        <dgm:constr type="w" for="ch" forName="balance_22" refType="w" fact="0.9"/>
        <dgm:constr type="h" for="ch" forName="balance_22" refType="h" fact="0.076"/>
        <dgm:constr type="b" for="ch" forName="balance_22" refType="h" fact="0.81"/>
        <dgm:constr type="ctrX" for="ch" forName="balance_22" refType="w" fact="0.5"/>
        <dgm:constr type="w" for="ch" forName="balance_23" refType="w"/>
        <dgm:constr type="h" for="ch" forName="balance_23" refType="h" fact="0.157"/>
        <dgm:constr type="b" for="ch" forName="balance_23" refType="h" fact="0.85"/>
        <dgm:constr type="ctrX" for="ch" forName="balance_23" refType="w" fact="0.5"/>
        <dgm:constr type="w" for="ch" forName="balance_24" refType="w"/>
        <dgm:constr type="h" for="ch" forName="balance_24" refType="h" fact="0.157"/>
        <dgm:constr type="b" for="ch" forName="balance_24" refType="h" fact="0.85"/>
        <dgm:constr type="ctrX" for="ch" forName="balance_24" refType="w" fact="0.5"/>
        <dgm:constr type="w" for="ch" forName="balance_30" refType="w"/>
        <dgm:constr type="h" for="ch" forName="balance_30" refType="h" fact="0.157"/>
        <dgm:constr type="b" for="ch" forName="balance_30" refType="h" fact="0.85"/>
        <dgm:constr type="ctrX" for="ch" forName="balance_30" refType="w" fact="0.5"/>
        <dgm:constr type="w" for="ch" forName="balance_31" refType="w"/>
        <dgm:constr type="h" for="ch" forName="balance_31" refType="h" fact="0.157"/>
        <dgm:constr type="b" for="ch" forName="balance_31" refType="h" fact="0.85"/>
        <dgm:constr type="ctrX" for="ch" forName="balance_31" refType="w" fact="0.5"/>
        <dgm:constr type="w" for="ch" forName="balance_32" refType="w"/>
        <dgm:constr type="h" for="ch" forName="balance_32" refType="h" fact="0.157"/>
        <dgm:constr type="b" for="ch" forName="balance_32" refType="h" fact="0.85"/>
        <dgm:constr type="ctrX" for="ch" forName="balance_32" refType="w" fact="0.5"/>
        <dgm:constr type="w" for="ch" forName="balance_33" refType="w" fact="0.9"/>
        <dgm:constr type="h" for="ch" forName="balance_33" refType="h" fact="0.076"/>
        <dgm:constr type="b" for="ch" forName="balance_33" refType="h" fact="0.81"/>
        <dgm:constr type="ctrX" for="ch" forName="balance_33" refType="w" fact="0.5"/>
        <dgm:constr type="w" for="ch" forName="balance_34" refType="w"/>
        <dgm:constr type="h" for="ch" forName="balance_34" refType="h" fact="0.157"/>
        <dgm:constr type="b" for="ch" forName="balance_34" refType="h" fact="0.85"/>
        <dgm:constr type="ctrX" for="ch" forName="balance_34" refType="w" fact="0.5"/>
        <dgm:constr type="w" for="ch" forName="balance_40" refType="w"/>
        <dgm:constr type="h" for="ch" forName="balance_40" refType="h" fact="0.157"/>
        <dgm:constr type="b" for="ch" forName="balance_40" refType="h" fact="0.85"/>
        <dgm:constr type="ctrX" for="ch" forName="balance_40" refType="w" fact="0.5"/>
        <dgm:constr type="w" for="ch" forName="balance_41" refType="w"/>
        <dgm:constr type="h" for="ch" forName="balance_41" refType="h" fact="0.157"/>
        <dgm:constr type="b" for="ch" forName="balance_41" refType="h" fact="0.85"/>
        <dgm:constr type="ctrX" for="ch" forName="balance_41" refType="w" fact="0.5"/>
        <dgm:constr type="w" for="ch" forName="balance_42" refType="w"/>
        <dgm:constr type="h" for="ch" forName="balance_42" refType="h" fact="0.157"/>
        <dgm:constr type="b" for="ch" forName="balance_42" refType="h" fact="0.85"/>
        <dgm:constr type="ctrX" for="ch" forName="balance_42" refType="w" fact="0.5"/>
        <dgm:constr type="w" for="ch" forName="balance_43" refType="w"/>
        <dgm:constr type="h" for="ch" forName="balance_43" refType="h" fact="0.157"/>
        <dgm:constr type="b" for="ch" forName="balance_43" refType="h" fact="0.85"/>
        <dgm:constr type="ctrX" for="ch" forName="balance_43" refType="w" fact="0.5"/>
        <dgm:constr type="w" for="ch" forName="balance_44" refType="w" fact="0.9"/>
        <dgm:constr type="h" for="ch" forName="balance_44" refType="h" fact="0.076"/>
        <dgm:constr type="b" for="ch" forName="balance_44" refType="h" fact="0.81"/>
        <dgm:constr type="ctrX" for="ch" forName="balance_44" refType="w" fact="0.5"/>
        <dgm:constr type="w" for="ch" forName="right_01_1" refType="w" fact="0.4"/>
        <dgm:constr type="h" for="ch" forName="right_01_1" refType="h" fact="0.7"/>
        <dgm:constr type="b" for="ch" forName="right_01_1" refType="h" fact="0.76"/>
        <dgm:constr type="ctrX" for="ch" forName="right_01_1" refType="w" fact="0.78"/>
        <dgm:constr type="w" for="ch" forName="left_10_1" refType="w" fact="0.4"/>
        <dgm:constr type="h" for="ch" forName="left_10_1" refType="h" fact="0.7"/>
        <dgm:constr type="b" for="ch" forName="left_10_1" refType="h" fact="0.76"/>
        <dgm:constr type="ctrX" for="ch" forName="left_10_1" refType="w" fact="0.22"/>
        <dgm:constr type="w" for="ch" forName="right_11_1" refType="w" fact="0.36"/>
        <dgm:constr type="h" for="ch" forName="right_11_1" refType="h" fact="0.67"/>
        <dgm:constr type="b" for="ch" forName="right_11_1" refType="h" fact="0.725"/>
        <dgm:constr type="ctrX" for="ch" forName="right_11_1" refType="w" fact="0.76"/>
        <dgm:constr type="w" for="ch" forName="left_11_1" refType="w" fact="0.36"/>
        <dgm:constr type="h" for="ch" forName="left_11_1" refType="h" fact="0.67"/>
        <dgm:constr type="b" for="ch" forName="left_11_1" refType="h" fact="0.725"/>
        <dgm:constr type="ctrX" for="ch" forName="left_11_1" refType="w" fact="0.24"/>
        <dgm:constr type="w" for="ch" forName="right_02_1" refType="w" fact="0.388"/>
        <dgm:constr type="h" for="ch" forName="right_02_1" refType="h" fact="0.36"/>
        <dgm:constr type="b" for="ch" forName="right_02_1" refType="h" fact="0.76"/>
        <dgm:constr type="ctrX" for="ch" forName="right_02_1" refType="w" fact="0.77"/>
        <dgm:constr type="w" for="ch" forName="right_02_2" refType="w" fact="0.388"/>
        <dgm:constr type="h" for="ch" forName="right_02_2" refType="h" fact="0.36"/>
        <dgm:constr type="b" for="ch" forName="right_02_2" refType="h" fact="0.42"/>
        <dgm:constr type="ctrX" for="ch" forName="right_02_2" refType="w" fact="0.79"/>
        <dgm:constr type="w" for="ch" forName="left_20_1" refType="w" fact="0.388"/>
        <dgm:constr type="h" for="ch" forName="left_20_1" refType="h" fact="0.36"/>
        <dgm:constr type="b" for="ch" forName="left_20_1" refType="h" fact="0.76"/>
        <dgm:constr type="ctrX" for="ch" forName="left_20_1" refType="w" fact="0.23"/>
        <dgm:constr type="w" for="ch" forName="left_20_2" refType="w" fact="0.388"/>
        <dgm:constr type="h" for="ch" forName="left_20_2" refType="h" fact="0.36"/>
        <dgm:constr type="b" for="ch" forName="left_20_2" refType="h" fact="0.42"/>
        <dgm:constr type="ctrX" for="ch" forName="left_20_2" refType="w" fact="0.21"/>
        <dgm:constr type="w" for="ch" forName="right_12_1" refType="w" fact="0.388"/>
        <dgm:constr type="h" for="ch" forName="right_12_1" refType="h" fact="0.36"/>
        <dgm:constr type="b" for="ch" forName="right_12_1" refType="h" fact="0.76"/>
        <dgm:constr type="ctrX" for="ch" forName="right_12_1" refType="w" fact="0.77"/>
        <dgm:constr type="w" for="ch" forName="right_12_2" refType="w" fact="0.388"/>
        <dgm:constr type="h" for="ch" forName="right_12_2" refType="h" fact="0.36"/>
        <dgm:constr type="b" for="ch" forName="right_12_2" refType="h" fact="0.42"/>
        <dgm:constr type="ctrX" for="ch" forName="right_12_2" refType="w" fact="0.79"/>
        <dgm:constr type="w" for="ch" forName="left_12_1" refType="w" fact="0.388"/>
        <dgm:constr type="h" for="ch" forName="left_12_1" refType="h" fact="0.36"/>
        <dgm:constr type="b" for="ch" forName="left_12_1" refType="h" fact="0.715"/>
        <dgm:constr type="ctrX" for="ch" forName="left_12_1" refType="w" fact="0.255"/>
        <dgm:constr type="w" for="ch" forName="right_22_1" refType="w" fact="0.36"/>
        <dgm:constr type="h" for="ch" forName="right_22_1" refType="h" fact="0.32"/>
        <dgm:constr type="b" for="ch" forName="right_22_1" refType="h" fact="0.725"/>
        <dgm:constr type="ctrX" for="ch" forName="right_22_1" refType="w" fact="0.76"/>
        <dgm:constr type="w" for="ch" forName="right_22_2" refType="w" fact="0.36"/>
        <dgm:constr type="h" for="ch" forName="right_22_2" refType="h" fact="0.32"/>
        <dgm:constr type="b" for="ch" forName="right_22_2" refType="h" fact="0.39"/>
        <dgm:constr type="ctrX" for="ch" forName="right_22_2" refType="w" fact="0.76"/>
        <dgm:constr type="w" for="ch" forName="left_22_1" refType="w" fact="0.36"/>
        <dgm:constr type="h" for="ch" forName="left_22_1" refType="h" fact="0.32"/>
        <dgm:constr type="b" for="ch" forName="left_22_1" refType="h" fact="0.725"/>
        <dgm:constr type="ctrX" for="ch" forName="left_22_1" refType="w" fact="0.24"/>
        <dgm:constr type="w" for="ch" forName="left_22_2" refType="w" fact="0.36"/>
        <dgm:constr type="h" for="ch" forName="left_22_2" refType="h" fact="0.32"/>
        <dgm:constr type="b" for="ch" forName="left_22_2" refType="h" fact="0.39"/>
        <dgm:constr type="ctrX" for="ch" forName="left_22_2" refType="w" fact="0.24"/>
        <dgm:constr type="w" for="ch" forName="left_21_1" refType="w" fact="0.388"/>
        <dgm:constr type="h" for="ch" forName="left_21_1" refType="h" fact="0.36"/>
        <dgm:constr type="b" for="ch" forName="left_21_1" refType="h" fact="0.76"/>
        <dgm:constr type="ctrX" for="ch" forName="left_21_1" refType="w" fact="0.23"/>
        <dgm:constr type="w" for="ch" forName="left_21_2" refType="w" fact="0.388"/>
        <dgm:constr type="h" for="ch" forName="left_21_2" refType="h" fact="0.36"/>
        <dgm:constr type="b" for="ch" forName="left_21_2" refType="h" fact="0.42"/>
        <dgm:constr type="ctrX" for="ch" forName="left_21_2" refType="w" fact="0.21"/>
        <dgm:constr type="w" for="ch" forName="right_21_1" refType="w" fact="0.388"/>
        <dgm:constr type="h" for="ch" forName="right_21_1" refType="h" fact="0.36"/>
        <dgm:constr type="b" for="ch" forName="right_21_1" refType="h" fact="0.715"/>
        <dgm:constr type="ctrX" for="ch" forName="right_21_1" refType="w" fact="0.745"/>
        <dgm:constr type="w" for="ch" forName="right_03_1" refType="w" fact="0.37"/>
        <dgm:constr type="h" for="ch" forName="right_03_1" refType="h" fact="0.24"/>
        <dgm:constr type="b" for="ch" forName="right_03_1" refType="h" fact="0.76"/>
        <dgm:constr type="ctrX" for="ch" forName="right_03_1" refType="w" fact="0.77"/>
        <dgm:constr type="w" for="ch" forName="right_03_2" refType="w" fact="0.37"/>
        <dgm:constr type="h" for="ch" forName="right_03_2" refType="h" fact="0.24"/>
        <dgm:constr type="b" for="ch" forName="right_03_2" refType="h" fact="0.535"/>
        <dgm:constr type="ctrX" for="ch" forName="right_03_2" refType="w" fact="0.783"/>
        <dgm:constr type="w" for="ch" forName="right_03_3" refType="w" fact="0.37"/>
        <dgm:constr type="h" for="ch" forName="right_03_3" refType="h" fact="0.24"/>
        <dgm:constr type="b" for="ch" forName="right_03_3" refType="h" fact="0.315"/>
        <dgm:constr type="ctrX" for="ch" forName="right_03_3" refType="w" fact="0.796"/>
        <dgm:constr type="w" for="ch" forName="left_30_1" refType="w" fact="0.37"/>
        <dgm:constr type="h" for="ch" forName="left_30_1" refType="h" fact="0.24"/>
        <dgm:constr type="b" for="ch" forName="left_30_1" refType="h" fact="0.76"/>
        <dgm:constr type="ctrX" for="ch" forName="left_30_1" refType="w" fact="0.23"/>
        <dgm:constr type="w" for="ch" forName="left_30_2" refType="w" fact="0.37"/>
        <dgm:constr type="h" for="ch" forName="left_30_2" refType="h" fact="0.24"/>
        <dgm:constr type="b" for="ch" forName="left_30_2" refType="h" fact="0.535"/>
        <dgm:constr type="ctrX" for="ch" forName="left_30_2" refType="w" fact="0.217"/>
        <dgm:constr type="w" for="ch" forName="left_30_3" refType="w" fact="0.37"/>
        <dgm:constr type="h" for="ch" forName="left_30_3" refType="h" fact="0.24"/>
        <dgm:constr type="b" for="ch" forName="left_30_3" refType="h" fact="0.315"/>
        <dgm:constr type="ctrX" for="ch" forName="left_30_3" refType="w" fact="0.204"/>
        <dgm:constr type="w" for="ch" forName="right_13_1" refType="w" fact="0.37"/>
        <dgm:constr type="h" for="ch" forName="right_13_1" refType="h" fact="0.24"/>
        <dgm:constr type="b" for="ch" forName="right_13_1" refType="h" fact="0.76"/>
        <dgm:constr type="ctrX" for="ch" forName="right_13_1" refType="w" fact="0.77"/>
        <dgm:constr type="w" for="ch" forName="right_13_2" refType="w" fact="0.37"/>
        <dgm:constr type="h" for="ch" forName="right_13_2" refType="h" fact="0.24"/>
        <dgm:constr type="b" for="ch" forName="right_13_2" refType="h" fact="0.535"/>
        <dgm:constr type="ctrX" for="ch" forName="right_13_2" refType="w" fact="0.783"/>
        <dgm:constr type="w" for="ch" forName="right_13_3" refType="w" fact="0.37"/>
        <dgm:constr type="h" for="ch" forName="right_13_3" refType="h" fact="0.24"/>
        <dgm:constr type="b" for="ch" forName="right_13_3" refType="h" fact="0.315"/>
        <dgm:constr type="ctrX" for="ch" forName="right_13_3" refType="w" fact="0.796"/>
        <dgm:constr type="w" for="ch" forName="left_13_1" refType="w" fact="0.37"/>
        <dgm:constr type="h" for="ch" forName="left_13_1" refType="h" fact="0.24"/>
        <dgm:constr type="b" for="ch" forName="left_13_1" refType="h" fact="0.715"/>
        <dgm:constr type="ctrX" for="ch" forName="left_13_1" refType="w" fact="0.255"/>
        <dgm:constr type="w" for="ch" forName="left_31_1" refType="w" fact="0.37"/>
        <dgm:constr type="h" for="ch" forName="left_31_1" refType="h" fact="0.24"/>
        <dgm:constr type="b" for="ch" forName="left_31_1" refType="h" fact="0.76"/>
        <dgm:constr type="ctrX" for="ch" forName="left_31_1" refType="w" fact="0.23"/>
        <dgm:constr type="w" for="ch" forName="left_31_2" refType="w" fact="0.37"/>
        <dgm:constr type="h" for="ch" forName="left_31_2" refType="h" fact="0.24"/>
        <dgm:constr type="b" for="ch" forName="left_31_2" refType="h" fact="0.535"/>
        <dgm:constr type="ctrX" for="ch" forName="left_31_2" refType="w" fact="0.217"/>
        <dgm:constr type="w" for="ch" forName="left_31_3" refType="w" fact="0.37"/>
        <dgm:constr type="h" for="ch" forName="left_31_3" refType="h" fact="0.24"/>
        <dgm:constr type="b" for="ch" forName="left_31_3" refType="h" fact="0.315"/>
        <dgm:constr type="ctrX" for="ch" forName="left_31_3" refType="w" fact="0.204"/>
        <dgm:constr type="w" for="ch" forName="right_31_1" refType="w" fact="0.37"/>
        <dgm:constr type="h" for="ch" forName="right_31_1" refType="h" fact="0.24"/>
        <dgm:constr type="b" for="ch" forName="right_31_1" refType="h" fact="0.715"/>
        <dgm:constr type="ctrX" for="ch" forName="right_31_1" refType="w" fact="0.745"/>
        <dgm:constr type="w" for="ch" forName="right_23_1" refType="w" fact="0.37"/>
        <dgm:constr type="h" for="ch" forName="right_23_1" refType="h" fact="0.24"/>
        <dgm:constr type="b" for="ch" forName="right_23_1" refType="h" fact="0.76"/>
        <dgm:constr type="ctrX" for="ch" forName="right_23_1" refType="w" fact="0.77"/>
        <dgm:constr type="w" for="ch" forName="right_23_2" refType="w" fact="0.37"/>
        <dgm:constr type="h" for="ch" forName="right_23_2" refType="h" fact="0.24"/>
        <dgm:constr type="b" for="ch" forName="right_23_2" refType="h" fact="0.535"/>
        <dgm:constr type="ctrX" for="ch" forName="right_23_2" refType="w" fact="0.783"/>
        <dgm:constr type="w" for="ch" forName="right_23_3" refType="w" fact="0.37"/>
        <dgm:constr type="h" for="ch" forName="right_23_3" refType="h" fact="0.24"/>
        <dgm:constr type="b" for="ch" forName="right_23_3" refType="h" fact="0.315"/>
        <dgm:constr type="ctrX" for="ch" forName="right_23_3" refType="w" fact="0.796"/>
        <dgm:constr type="w" for="ch" forName="left_23_1" refType="w" fact="0.37"/>
        <dgm:constr type="h" for="ch" forName="left_23_1" refType="h" fact="0.24"/>
        <dgm:constr type="b" for="ch" forName="left_23_1" refType="h" fact="0.715"/>
        <dgm:constr type="ctrX" for="ch" forName="left_23_1" refType="w" fact="0.255"/>
        <dgm:constr type="w" for="ch" forName="left_23_2" refType="w" fact="0.37"/>
        <dgm:constr type="h" for="ch" forName="left_23_2" refType="h" fact="0.24"/>
        <dgm:constr type="b" for="ch" forName="left_23_2" refType="h" fact="0.49"/>
        <dgm:constr type="ctrX" for="ch" forName="left_23_2" refType="w" fact="0.268"/>
        <dgm:constr type="w" for="ch" forName="left_32_1" refType="w" fact="0.37"/>
        <dgm:constr type="h" for="ch" forName="left_32_1" refType="h" fact="0.24"/>
        <dgm:constr type="b" for="ch" forName="left_32_1" refType="h" fact="0.76"/>
        <dgm:constr type="ctrX" for="ch" forName="left_32_1" refType="w" fact="0.23"/>
        <dgm:constr type="w" for="ch" forName="left_32_2" refType="w" fact="0.37"/>
        <dgm:constr type="h" for="ch" forName="left_32_2" refType="h" fact="0.24"/>
        <dgm:constr type="b" for="ch" forName="left_32_2" refType="h" fact="0.535"/>
        <dgm:constr type="ctrX" for="ch" forName="left_32_2" refType="w" fact="0.217"/>
        <dgm:constr type="w" for="ch" forName="left_32_3" refType="w" fact="0.37"/>
        <dgm:constr type="h" for="ch" forName="left_32_3" refType="h" fact="0.24"/>
        <dgm:constr type="b" for="ch" forName="left_32_3" refType="h" fact="0.315"/>
        <dgm:constr type="ctrX" for="ch" forName="left_32_3" refType="w" fact="0.204"/>
        <dgm:constr type="w" for="ch" forName="right_32_1" refType="w" fact="0.37"/>
        <dgm:constr type="h" for="ch" forName="right_32_1" refType="h" fact="0.24"/>
        <dgm:constr type="b" for="ch" forName="right_32_1" refType="h" fact="0.715"/>
        <dgm:constr type="ctrX" for="ch" forName="right_32_1" refType="w" fact="0.745"/>
        <dgm:constr type="w" for="ch" forName="right_32_2" refType="w" fact="0.37"/>
        <dgm:constr type="h" for="ch" forName="right_32_2" refType="h" fact="0.24"/>
        <dgm:constr type="b" for="ch" forName="right_32_2" refType="h" fact="0.49"/>
        <dgm:constr type="ctrX" for="ch" forName="right_32_2" refType="w" fact="0.732"/>
        <dgm:constr type="w" for="ch" forName="right_33_1" refType="w" fact="0.36"/>
        <dgm:constr type="h" for="ch" forName="right_33_1" refType="h" fact="0.21"/>
        <dgm:constr type="b" for="ch" forName="right_33_1" refType="h" fact="0.725"/>
        <dgm:constr type="ctrX" for="ch" forName="right_33_1" refType="w" fact="0.76"/>
        <dgm:constr type="w" for="ch" forName="right_33_2" refType="w" fact="0.36"/>
        <dgm:constr type="h" for="ch" forName="right_33_2" refType="h" fact="0.21"/>
        <dgm:constr type="b" for="ch" forName="right_33_2" refType="h" fact="0.5"/>
        <dgm:constr type="ctrX" for="ch" forName="right_33_2" refType="w" fact="0.76"/>
        <dgm:constr type="w" for="ch" forName="right_33_3" refType="w" fact="0.36"/>
        <dgm:constr type="h" for="ch" forName="right_33_3" refType="h" fact="0.21"/>
        <dgm:constr type="b" for="ch" forName="right_33_3" refType="h" fact="0.275"/>
        <dgm:constr type="ctrX" for="ch" forName="right_33_3" refType="w" fact="0.76"/>
        <dgm:constr type="w" for="ch" forName="left_33_1" refType="w" fact="0.36"/>
        <dgm:constr type="h" for="ch" forName="left_33_1" refType="h" fact="0.21"/>
        <dgm:constr type="b" for="ch" forName="left_33_1" refType="h" fact="0.725"/>
        <dgm:constr type="ctrX" for="ch" forName="left_33_1" refType="w" fact="0.24"/>
        <dgm:constr type="w" for="ch" forName="left_33_2" refType="w" fact="0.36"/>
        <dgm:constr type="h" for="ch" forName="left_33_2" refType="h" fact="0.21"/>
        <dgm:constr type="b" for="ch" forName="left_33_2" refType="h" fact="0.5"/>
        <dgm:constr type="ctrX" for="ch" forName="left_33_2" refType="w" fact="0.24"/>
        <dgm:constr type="w" for="ch" forName="left_33_3" refType="w" fact="0.36"/>
        <dgm:constr type="h" for="ch" forName="left_33_3" refType="h" fact="0.21"/>
        <dgm:constr type="b" for="ch" forName="left_33_3" refType="h" fact="0.275"/>
        <dgm:constr type="ctrX" for="ch" forName="left_33_3" refType="w" fact="0.24"/>
        <dgm:constr type="w" for="ch" forName="right_04_1" refType="w" fact="0.365"/>
        <dgm:constr type="h" for="ch" forName="right_04_1" refType="h" fact="0.185"/>
        <dgm:constr type="b" for="ch" forName="right_04_1" refType="h" fact="0.76"/>
        <dgm:constr type="ctrX" for="ch" forName="right_04_1" refType="w" fact="0.77"/>
        <dgm:constr type="w" for="ch" forName="right_04_2" refType="w" fact="0.365"/>
        <dgm:constr type="h" for="ch" forName="right_04_2" refType="h" fact="0.185"/>
        <dgm:constr type="b" for="ch" forName="right_04_2" refType="h" fact="0.595"/>
        <dgm:constr type="ctrX" for="ch" forName="right_04_2" refType="w" fact="0.78"/>
        <dgm:constr type="w" for="ch" forName="right_04_3" refType="w" fact="0.365"/>
        <dgm:constr type="h" for="ch" forName="right_04_3" refType="h" fact="0.185"/>
        <dgm:constr type="b" for="ch" forName="right_04_3" refType="h" fact="0.43"/>
        <dgm:constr type="ctrX" for="ch" forName="right_04_3" refType="w" fact="0.79"/>
        <dgm:constr type="w" for="ch" forName="right_04_4" refType="w" fact="0.365"/>
        <dgm:constr type="h" for="ch" forName="right_04_4" refType="h" fact="0.185"/>
        <dgm:constr type="b" for="ch" forName="right_04_4" refType="h" fact="0.265"/>
        <dgm:constr type="ctrX" for="ch" forName="right_04_4" refType="w" fact="0.8"/>
        <dgm:constr type="w" for="ch" forName="left_40_1" refType="w" fact="0.365"/>
        <dgm:constr type="h" for="ch" forName="left_40_1" refType="h" fact="0.185"/>
        <dgm:constr type="b" for="ch" forName="left_40_1" refType="h" fact="0.76"/>
        <dgm:constr type="ctrX" for="ch" forName="left_40_1" refType="w" fact="0.23"/>
        <dgm:constr type="w" for="ch" forName="left_40_2" refType="w" fact="0.365"/>
        <dgm:constr type="h" for="ch" forName="left_40_2" refType="h" fact="0.185"/>
        <dgm:constr type="b" for="ch" forName="left_40_2" refType="h" fact="0.595"/>
        <dgm:constr type="ctrX" for="ch" forName="left_40_2" refType="w" fact="0.22"/>
        <dgm:constr type="w" for="ch" forName="left_40_3" refType="w" fact="0.365"/>
        <dgm:constr type="h" for="ch" forName="left_40_3" refType="h" fact="0.185"/>
        <dgm:constr type="b" for="ch" forName="left_40_3" refType="h" fact="0.43"/>
        <dgm:constr type="ctrX" for="ch" forName="left_40_3" refType="w" fact="0.21"/>
        <dgm:constr type="w" for="ch" forName="left_40_4" refType="w" fact="0.365"/>
        <dgm:constr type="h" for="ch" forName="left_40_4" refType="h" fact="0.185"/>
        <dgm:constr type="b" for="ch" forName="left_40_4" refType="h" fact="0.265"/>
        <dgm:constr type="ctrX" for="ch" forName="left_40_4" refType="w" fact="0.2"/>
        <dgm:constr type="w" for="ch" forName="right_14_1" refType="w" fact="0.365"/>
        <dgm:constr type="h" for="ch" forName="right_14_1" refType="h" fact="0.185"/>
        <dgm:constr type="b" for="ch" forName="right_14_1" refType="h" fact="0.76"/>
        <dgm:constr type="ctrX" for="ch" forName="right_14_1" refType="w" fact="0.77"/>
        <dgm:constr type="w" for="ch" forName="right_14_2" refType="w" fact="0.365"/>
        <dgm:constr type="h" for="ch" forName="right_14_2" refType="h" fact="0.185"/>
        <dgm:constr type="b" for="ch" forName="right_14_2" refType="h" fact="0.595"/>
        <dgm:constr type="ctrX" for="ch" forName="right_14_2" refType="w" fact="0.78"/>
        <dgm:constr type="w" for="ch" forName="right_14_3" refType="w" fact="0.365"/>
        <dgm:constr type="h" for="ch" forName="right_14_3" refType="h" fact="0.185"/>
        <dgm:constr type="b" for="ch" forName="right_14_3" refType="h" fact="0.43"/>
        <dgm:constr type="ctrX" for="ch" forName="right_14_3" refType="w" fact="0.79"/>
        <dgm:constr type="w" for="ch" forName="right_14_4" refType="w" fact="0.365"/>
        <dgm:constr type="h" for="ch" forName="right_14_4" refType="h" fact="0.185"/>
        <dgm:constr type="b" for="ch" forName="right_14_4" refType="h" fact="0.265"/>
        <dgm:constr type="ctrX" for="ch" forName="right_14_4" refType="w" fact="0.8"/>
        <dgm:constr type="w" for="ch" forName="left_14_1" refType="w" fact="0.365"/>
        <dgm:constr type="h" for="ch" forName="left_14_1" refType="h" fact="0.185"/>
        <dgm:constr type="b" for="ch" forName="left_14_1" refType="h" fact="0.715"/>
        <dgm:constr type="ctrX" for="ch" forName="left_14_1" refType="w" fact="0.25"/>
        <dgm:constr type="w" for="ch" forName="left_41_1" refType="w" fact="0.365"/>
        <dgm:constr type="h" for="ch" forName="left_41_1" refType="h" fact="0.185"/>
        <dgm:constr type="b" for="ch" forName="left_41_1" refType="h" fact="0.76"/>
        <dgm:constr type="ctrX" for="ch" forName="left_41_1" refType="w" fact="0.23"/>
        <dgm:constr type="w" for="ch" forName="left_41_2" refType="w" fact="0.365"/>
        <dgm:constr type="h" for="ch" forName="left_41_2" refType="h" fact="0.185"/>
        <dgm:constr type="b" for="ch" forName="left_41_2" refType="h" fact="0.595"/>
        <dgm:constr type="ctrX" for="ch" forName="left_41_2" refType="w" fact="0.22"/>
        <dgm:constr type="w" for="ch" forName="left_41_3" refType="w" fact="0.365"/>
        <dgm:constr type="h" for="ch" forName="left_41_3" refType="h" fact="0.185"/>
        <dgm:constr type="b" for="ch" forName="left_41_3" refType="h" fact="0.43"/>
        <dgm:constr type="ctrX" for="ch" forName="left_41_3" refType="w" fact="0.21"/>
        <dgm:constr type="w" for="ch" forName="left_41_4" refType="w" fact="0.365"/>
        <dgm:constr type="h" for="ch" forName="left_41_4" refType="h" fact="0.185"/>
        <dgm:constr type="b" for="ch" forName="left_41_4" refType="h" fact="0.265"/>
        <dgm:constr type="ctrX" for="ch" forName="left_41_4" refType="w" fact="0.2"/>
        <dgm:constr type="w" for="ch" forName="right_41_1" refType="w" fact="0.365"/>
        <dgm:constr type="h" for="ch" forName="right_41_1" refType="h" fact="0.185"/>
        <dgm:constr type="b" for="ch" forName="right_41_1" refType="h" fact="0.715"/>
        <dgm:constr type="ctrX" for="ch" forName="right_41_1" refType="w" fact="0.75"/>
        <dgm:constr type="w" for="ch" forName="right_24_1" refType="w" fact="0.365"/>
        <dgm:constr type="h" for="ch" forName="right_24_1" refType="h" fact="0.185"/>
        <dgm:constr type="b" for="ch" forName="right_24_1" refType="h" fact="0.76"/>
        <dgm:constr type="ctrX" for="ch" forName="right_24_1" refType="w" fact="0.77"/>
        <dgm:constr type="w" for="ch" forName="right_24_2" refType="w" fact="0.365"/>
        <dgm:constr type="h" for="ch" forName="right_24_2" refType="h" fact="0.185"/>
        <dgm:constr type="b" for="ch" forName="right_24_2" refType="h" fact="0.595"/>
        <dgm:constr type="ctrX" for="ch" forName="right_24_2" refType="w" fact="0.78"/>
        <dgm:constr type="w" for="ch" forName="right_24_3" refType="w" fact="0.365"/>
        <dgm:constr type="h" for="ch" forName="right_24_3" refType="h" fact="0.185"/>
        <dgm:constr type="b" for="ch" forName="right_24_3" refType="h" fact="0.43"/>
        <dgm:constr type="ctrX" for="ch" forName="right_24_3" refType="w" fact="0.79"/>
        <dgm:constr type="w" for="ch" forName="right_24_4" refType="w" fact="0.365"/>
        <dgm:constr type="h" for="ch" forName="right_24_4" refType="h" fact="0.185"/>
        <dgm:constr type="b" for="ch" forName="right_24_4" refType="h" fact="0.265"/>
        <dgm:constr type="ctrX" for="ch" forName="right_24_4" refType="w" fact="0.8"/>
        <dgm:constr type="w" for="ch" forName="left_24_1" refType="w" fact="0.365"/>
        <dgm:constr type="h" for="ch" forName="left_24_1" refType="h" fact="0.185"/>
        <dgm:constr type="b" for="ch" forName="left_24_1" refType="h" fact="0.715"/>
        <dgm:constr type="ctrX" for="ch" forName="left_24_1" refType="w" fact="0.25"/>
        <dgm:constr type="w" for="ch" forName="left_24_2" refType="w" fact="0.365"/>
        <dgm:constr type="h" for="ch" forName="left_24_2" refType="h" fact="0.185"/>
        <dgm:constr type="b" for="ch" forName="left_24_2" refType="h" fact="0.55"/>
        <dgm:constr type="ctrX" for="ch" forName="left_24_2" refType="w" fact="0.26"/>
        <dgm:constr type="w" for="ch" forName="left_42_1" refType="w" fact="0.365"/>
        <dgm:constr type="h" for="ch" forName="left_42_1" refType="h" fact="0.185"/>
        <dgm:constr type="b" for="ch" forName="left_42_1" refType="h" fact="0.76"/>
        <dgm:constr type="ctrX" for="ch" forName="left_42_1" refType="w" fact="0.23"/>
        <dgm:constr type="w" for="ch" forName="left_42_2" refType="w" fact="0.365"/>
        <dgm:constr type="h" for="ch" forName="left_42_2" refType="h" fact="0.185"/>
        <dgm:constr type="b" for="ch" forName="left_42_2" refType="h" fact="0.595"/>
        <dgm:constr type="ctrX" for="ch" forName="left_42_2" refType="w" fact="0.22"/>
        <dgm:constr type="w" for="ch" forName="left_42_3" refType="w" fact="0.365"/>
        <dgm:constr type="h" for="ch" forName="left_42_3" refType="h" fact="0.185"/>
        <dgm:constr type="b" for="ch" forName="left_42_3" refType="h" fact="0.43"/>
        <dgm:constr type="ctrX" for="ch" forName="left_42_3" refType="w" fact="0.21"/>
        <dgm:constr type="w" for="ch" forName="left_42_4" refType="w" fact="0.365"/>
        <dgm:constr type="h" for="ch" forName="left_42_4" refType="h" fact="0.185"/>
        <dgm:constr type="b" for="ch" forName="left_42_4" refType="h" fact="0.265"/>
        <dgm:constr type="ctrX" for="ch" forName="left_42_4" refType="w" fact="0.2"/>
        <dgm:constr type="w" for="ch" forName="right_42_1" refType="w" fact="0.365"/>
        <dgm:constr type="h" for="ch" forName="right_42_1" refType="h" fact="0.185"/>
        <dgm:constr type="b" for="ch" forName="right_42_1" refType="h" fact="0.715"/>
        <dgm:constr type="ctrX" for="ch" forName="right_42_1" refType="w" fact="0.75"/>
        <dgm:constr type="w" for="ch" forName="right_42_2" refType="w" fact="0.365"/>
        <dgm:constr type="h" for="ch" forName="right_42_2" refType="h" fact="0.185"/>
        <dgm:constr type="b" for="ch" forName="right_42_2" refType="h" fact="0.55"/>
        <dgm:constr type="ctrX" for="ch" forName="right_42_2" refType="w" fact="0.74"/>
        <dgm:constr type="w" for="ch" forName="right_34_1" refType="w" fact="0.365"/>
        <dgm:constr type="h" for="ch" forName="right_34_1" refType="h" fact="0.185"/>
        <dgm:constr type="b" for="ch" forName="right_34_1" refType="h" fact="0.76"/>
        <dgm:constr type="ctrX" for="ch" forName="right_34_1" refType="w" fact="0.77"/>
        <dgm:constr type="w" for="ch" forName="right_34_2" refType="w" fact="0.365"/>
        <dgm:constr type="h" for="ch" forName="right_34_2" refType="h" fact="0.185"/>
        <dgm:constr type="b" for="ch" forName="right_34_2" refType="h" fact="0.595"/>
        <dgm:constr type="ctrX" for="ch" forName="right_34_2" refType="w" fact="0.78"/>
        <dgm:constr type="w" for="ch" forName="right_34_3" refType="w" fact="0.365"/>
        <dgm:constr type="h" for="ch" forName="right_34_3" refType="h" fact="0.185"/>
        <dgm:constr type="b" for="ch" forName="right_34_3" refType="h" fact="0.43"/>
        <dgm:constr type="ctrX" for="ch" forName="right_34_3" refType="w" fact="0.79"/>
        <dgm:constr type="w" for="ch" forName="right_34_4" refType="w" fact="0.365"/>
        <dgm:constr type="h" for="ch" forName="right_34_4" refType="h" fact="0.185"/>
        <dgm:constr type="b" for="ch" forName="right_34_4" refType="h" fact="0.265"/>
        <dgm:constr type="ctrX" for="ch" forName="right_34_4" refType="w" fact="0.8"/>
        <dgm:constr type="w" for="ch" forName="left_34_1" refType="w" fact="0.365"/>
        <dgm:constr type="h" for="ch" forName="left_34_1" refType="h" fact="0.185"/>
        <dgm:constr type="b" for="ch" forName="left_34_1" refType="h" fact="0.715"/>
        <dgm:constr type="ctrX" for="ch" forName="left_34_1" refType="w" fact="0.25"/>
        <dgm:constr type="w" for="ch" forName="left_34_2" refType="w" fact="0.365"/>
        <dgm:constr type="h" for="ch" forName="left_34_2" refType="h" fact="0.185"/>
        <dgm:constr type="b" for="ch" forName="left_34_2" refType="h" fact="0.55"/>
        <dgm:constr type="ctrX" for="ch" forName="left_34_2" refType="w" fact="0.26"/>
        <dgm:constr type="w" for="ch" forName="left_34_3" refType="w" fact="0.365"/>
        <dgm:constr type="h" for="ch" forName="left_34_3" refType="h" fact="0.185"/>
        <dgm:constr type="b" for="ch" forName="left_34_3" refType="h" fact="0.385"/>
        <dgm:constr type="ctrX" for="ch" forName="left_34_3" refType="w" fact="0.27"/>
        <dgm:constr type="w" for="ch" forName="left_43_1" refType="w" fact="0.365"/>
        <dgm:constr type="h" for="ch" forName="left_43_1" refType="h" fact="0.185"/>
        <dgm:constr type="b" for="ch" forName="left_43_1" refType="h" fact="0.76"/>
        <dgm:constr type="ctrX" for="ch" forName="left_43_1" refType="w" fact="0.23"/>
        <dgm:constr type="w" for="ch" forName="left_43_2" refType="w" fact="0.365"/>
        <dgm:constr type="h" for="ch" forName="left_43_2" refType="h" fact="0.185"/>
        <dgm:constr type="b" for="ch" forName="left_43_2" refType="h" fact="0.595"/>
        <dgm:constr type="ctrX" for="ch" forName="left_43_2" refType="w" fact="0.22"/>
        <dgm:constr type="w" for="ch" forName="left_43_3" refType="w" fact="0.365"/>
        <dgm:constr type="h" for="ch" forName="left_43_3" refType="h" fact="0.185"/>
        <dgm:constr type="b" for="ch" forName="left_43_3" refType="h" fact="0.43"/>
        <dgm:constr type="ctrX" for="ch" forName="left_43_3" refType="w" fact="0.21"/>
        <dgm:constr type="w" for="ch" forName="left_43_4" refType="w" fact="0.365"/>
        <dgm:constr type="h" for="ch" forName="left_43_4" refType="h" fact="0.185"/>
        <dgm:constr type="b" for="ch" forName="left_43_4" refType="h" fact="0.265"/>
        <dgm:constr type="ctrX" for="ch" forName="left_43_4" refType="w" fact="0.2"/>
        <dgm:constr type="w" for="ch" forName="right_43_1" refType="w" fact="0.365"/>
        <dgm:constr type="h" for="ch" forName="right_43_1" refType="h" fact="0.185"/>
        <dgm:constr type="b" for="ch" forName="right_43_1" refType="h" fact="0.715"/>
        <dgm:constr type="ctrX" for="ch" forName="right_43_1" refType="w" fact="0.75"/>
        <dgm:constr type="w" for="ch" forName="right_43_2" refType="w" fact="0.365"/>
        <dgm:constr type="h" for="ch" forName="right_43_2" refType="h" fact="0.185"/>
        <dgm:constr type="b" for="ch" forName="right_43_2" refType="h" fact="0.55"/>
        <dgm:constr type="ctrX" for="ch" forName="right_43_2" refType="w" fact="0.74"/>
        <dgm:constr type="w" for="ch" forName="right_43_3" refType="w" fact="0.365"/>
        <dgm:constr type="h" for="ch" forName="right_43_3" refType="h" fact="0.185"/>
        <dgm:constr type="b" for="ch" forName="right_43_3" refType="h" fact="0.385"/>
        <dgm:constr type="ctrX" for="ch" forName="right_43_3" refType="w" fact="0.73"/>
        <dgm:constr type="w" for="ch" forName="right_44_1" refType="w" fact="0.36"/>
        <dgm:constr type="h" for="ch" forName="right_44_1" refType="h" fact="0.154"/>
        <dgm:constr type="b" for="ch" forName="right_44_1" refType="h" fact="0.725"/>
        <dgm:constr type="ctrX" for="ch" forName="right_44_1" refType="w" fact="0.76"/>
        <dgm:constr type="w" for="ch" forName="right_44_2" refType="w" fact="0.36"/>
        <dgm:constr type="h" for="ch" forName="right_44_2" refType="h" fact="0.154"/>
        <dgm:constr type="b" for="ch" forName="right_44_2" refType="h" fact="0.559"/>
        <dgm:constr type="ctrX" for="ch" forName="right_44_2" refType="w" fact="0.76"/>
        <dgm:constr type="w" for="ch" forName="right_44_3" refType="w" fact="0.36"/>
        <dgm:constr type="h" for="ch" forName="right_44_3" refType="h" fact="0.154"/>
        <dgm:constr type="b" for="ch" forName="right_44_3" refType="h" fact="0.393"/>
        <dgm:constr type="ctrX" for="ch" forName="right_44_3" refType="w" fact="0.76"/>
        <dgm:constr type="w" for="ch" forName="right_44_4" refType="w" fact="0.36"/>
        <dgm:constr type="h" for="ch" forName="right_44_4" refType="h" fact="0.154"/>
        <dgm:constr type="b" for="ch" forName="right_44_4" refType="h" fact="0.224"/>
        <dgm:constr type="ctrX" for="ch" forName="right_44_4" refType="w" fact="0.76"/>
        <dgm:constr type="w" for="ch" forName="left_44_1" refType="w" fact="0.36"/>
        <dgm:constr type="h" for="ch" forName="left_44_1" refType="h" fact="0.154"/>
        <dgm:constr type="b" for="ch" forName="left_44_1" refType="h" fact="0.725"/>
        <dgm:constr type="ctrX" for="ch" forName="left_44_1" refType="w" fact="0.24"/>
        <dgm:constr type="w" for="ch" forName="left_44_2" refType="w" fact="0.36"/>
        <dgm:constr type="h" for="ch" forName="left_44_2" refType="h" fact="0.154"/>
        <dgm:constr type="b" for="ch" forName="left_44_2" refType="h" fact="0.559"/>
        <dgm:constr type="ctrX" for="ch" forName="left_44_2" refType="w" fact="0.24"/>
        <dgm:constr type="w" for="ch" forName="left_44_3" refType="w" fact="0.36"/>
        <dgm:constr type="h" for="ch" forName="left_44_3" refType="h" fact="0.154"/>
        <dgm:constr type="b" for="ch" forName="left_44_3" refType="h" fact="0.393"/>
        <dgm:constr type="ctrX" for="ch" forName="left_44_3" refType="w" fact="0.24"/>
        <dgm:constr type="w" for="ch" forName="left_44_4" refType="w" fact="0.36"/>
        <dgm:constr type="h" for="ch" forName="left_44_4" refType="h" fact="0.154"/>
        <dgm:constr type="b" for="ch" forName="left_44_4" refType="h" fact="0.224"/>
        <dgm:constr type="ctrX" for="ch" forName="left_44_4" refType="w" fact="0.24"/>
      </dgm:constrLst>
      <dgm:ruleLst/>
      <dgm:layoutNode name="dummyMaxCanvas_ChildArea">
        <dgm:alg type="sp"/>
        <dgm:shape xmlns:r="http://schemas.openxmlformats.org/officeDocument/2006/relationships" r:blip="">
          <dgm:adjLst/>
        </dgm:shape>
        <dgm:presOf/>
        <dgm:constrLst/>
        <dgm:ruleLst/>
      </dgm:layoutNode>
      <dgm:layoutNode name="fulcrum" styleLbl="alignAccFollowNode1">
        <dgm:alg type="sp"/>
        <dgm:shape xmlns:r="http://schemas.openxmlformats.org/officeDocument/2006/relationships" type="triangle" r:blip="">
          <dgm:adjLst/>
        </dgm:shape>
        <dgm:presOf/>
        <dgm:constrLst/>
        <dgm:ruleLst/>
      </dgm:layoutNode>
      <dgm:choose name="Name0">
        <dgm:if name="Name1" axis="ch ch" ptType="node node" st="1 1" cnt="1 0" func="cnt" op="equ" val="0">
          <dgm:choose name="Name2">
            <dgm:if name="Name3" axis="ch ch" ptType="node node" st="2 1" cnt="1 0" func="cnt" op="equ" val="0">
              <dgm:layoutNode name="balance_00" styleLbl="alignAccFollowNode1">
                <dgm:varLst>
                  <dgm:bulletEnabled val="1"/>
                </dgm:varLst>
                <dgm:alg type="sp"/>
                <dgm:shape xmlns:r="http://schemas.openxmlformats.org/officeDocument/2006/relationships" type="rect" r:blip="">
                  <dgm:adjLst/>
                </dgm:shape>
                <dgm:presOf/>
                <dgm:constrLst/>
                <dgm:ruleLst/>
              </dgm:layoutNode>
            </dgm:if>
            <dgm:else name="Name4">
              <dgm:choose name="Name5">
                <dgm:if name="Name6" axis="ch ch" ptType="node node" st="2 1" cnt="1 0" func="cnt" op="equ" val="1">
                  <dgm:layoutNode name="balance_01" styleLbl="alignAccFollowNode1">
                    <dgm:varLst>
                      <dgm:bulletEnabled val="1"/>
                    </dgm:varLst>
                    <dgm:alg type="sp"/>
                    <dgm:shape xmlns:r="http://schemas.openxmlformats.org/officeDocument/2006/relationships" rot="4" type="rect" r:blip="">
                      <dgm:adjLst/>
                    </dgm:shape>
                    <dgm:presOf/>
                    <dgm:constrLst/>
                    <dgm:ruleLst/>
                  </dgm:layoutNode>
                  <dgm:layoutNode name="right_0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
                  <dgm:choose name="Name8">
                    <dgm:if name="Name9" axis="ch ch" ptType="node node" st="2 1" cnt="1 0" func="cnt" op="equ" val="2">
                      <dgm:layoutNode name="balance_02" styleLbl="alignAccFollowNode1">
                        <dgm:varLst>
                          <dgm:bulletEnabled val="1"/>
                        </dgm:varLst>
                        <dgm:alg type="sp"/>
                        <dgm:shape xmlns:r="http://schemas.openxmlformats.org/officeDocument/2006/relationships" rot="4" type="rect" r:blip="">
                          <dgm:adjLst/>
                        </dgm:shape>
                        <dgm:presOf/>
                        <dgm:constrLst/>
                        <dgm:ruleLst/>
                      </dgm:layoutNode>
                      <dgm:layoutNode name="right_0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
                      <dgm:choose name="Name11">
                        <dgm:if name="Name12" axis="ch ch" ptType="node node" st="2 1" cnt="1 0" func="cnt" op="equ" val="3">
                          <dgm:layoutNode name="balance_03" styleLbl="alignAccFollowNode1">
                            <dgm:varLst>
                              <dgm:bulletEnabled val="1"/>
                            </dgm:varLst>
                            <dgm:alg type="sp"/>
                            <dgm:shape xmlns:r="http://schemas.openxmlformats.org/officeDocument/2006/relationships" rot="4" type="rect" r:blip="">
                              <dgm:adjLst/>
                            </dgm:shape>
                            <dgm:presOf/>
                            <dgm:constrLst/>
                            <dgm:ruleLst/>
                          </dgm:layoutNode>
                          <dgm:layoutNode name="right_0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3">
                          <dgm:choose name="Name14">
                            <dgm:if name="Name15" axis="ch ch" ptType="node node" st="2 1" cnt="1 0" func="cnt" op="gte" val="4">
                              <dgm:layoutNode name="balance_04" styleLbl="alignAccFollowNode1">
                                <dgm:varLst>
                                  <dgm:bulletEnabled val="1"/>
                                </dgm:varLst>
                                <dgm:alg type="sp"/>
                                <dgm:shape xmlns:r="http://schemas.openxmlformats.org/officeDocument/2006/relationships" rot="4" type="rect" r:blip="">
                                  <dgm:adjLst/>
                                </dgm:shape>
                                <dgm:presOf/>
                                <dgm:constrLst/>
                                <dgm:ruleLst/>
                              </dgm:layoutNode>
                              <dgm:layoutNode name="right_0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0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6"/>
                          </dgm:choose>
                        </dgm:else>
                      </dgm:choose>
                    </dgm:else>
                  </dgm:choose>
                </dgm:else>
              </dgm:choose>
            </dgm:else>
          </dgm:choose>
        </dgm:if>
        <dgm:else name="Name17">
          <dgm:choose name="Name18">
            <dgm:if name="Name19" axis="ch ch" ptType="node node" st="1 1" cnt="1 0" func="cnt" op="equ" val="1">
              <dgm:choose name="Name20">
                <dgm:if name="Name21" axis="ch ch" ptType="node node" st="2 1" cnt="1 0" func="cnt" op="equ" val="0">
                  <dgm:layoutNode name="balance_10" styleLbl="alignAccFollowNode1">
                    <dgm:varLst>
                      <dgm:bulletEnabled val="1"/>
                    </dgm:varLst>
                    <dgm:alg type="sp"/>
                    <dgm:shape xmlns:r="http://schemas.openxmlformats.org/officeDocument/2006/relationships" rot="-4" type="rect" r:blip="">
                      <dgm:adjLst/>
                    </dgm:shape>
                    <dgm:presOf/>
                    <dgm:constrLst/>
                    <dgm:ruleLst/>
                  </dgm:layoutNode>
                  <dgm:layoutNode name="left_1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2">
                  <dgm:choose name="Name23">
                    <dgm:if name="Name24" axis="ch ch" ptType="node node" st="2 1" cnt="1 0" func="cnt" op="equ" val="1">
                      <dgm:layoutNode name="balance_11" styleLbl="alignAccFollowNode1">
                        <dgm:varLst>
                          <dgm:bulletEnabled val="1"/>
                        </dgm:varLst>
                        <dgm:alg type="sp"/>
                        <dgm:shape xmlns:r="http://schemas.openxmlformats.org/officeDocument/2006/relationships" type="rect" r:blip="">
                          <dgm:adjLst/>
                        </dgm:shape>
                        <dgm:presOf/>
                        <dgm:constrLst/>
                        <dgm:ruleLst/>
                      </dgm:layoutNode>
                      <dgm:layoutNode name="left_11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1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5">
                      <dgm:choose name="Name26">
                        <dgm:if name="Name27" axis="ch ch" ptType="node node" st="2 1" cnt="1 0" func="cnt" op="equ" val="2">
                          <dgm:layoutNode name="balance_12" styleLbl="alignAccFollowNode1">
                            <dgm:varLst>
                              <dgm:bulletEnabled val="1"/>
                            </dgm:varLst>
                            <dgm:alg type="sp"/>
                            <dgm:shape xmlns:r="http://schemas.openxmlformats.org/officeDocument/2006/relationships" rot="4" type="rect" r:blip="">
                              <dgm:adjLst/>
                            </dgm:shape>
                            <dgm:presOf/>
                            <dgm:constrLst/>
                            <dgm:ruleLst/>
                          </dgm:layoutNode>
                          <dgm:layoutNode name="right_1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8">
                          <dgm:choose name="Name29">
                            <dgm:if name="Name30" axis="ch ch" ptType="node node" st="2 1" cnt="1 0" func="cnt" op="equ" val="3">
                              <dgm:layoutNode name="balance_13" styleLbl="alignAccFollowNode1">
                                <dgm:varLst>
                                  <dgm:bulletEnabled val="1"/>
                                </dgm:varLst>
                                <dgm:alg type="sp"/>
                                <dgm:shape xmlns:r="http://schemas.openxmlformats.org/officeDocument/2006/relationships" rot="4" type="rect" r:blip="">
                                  <dgm:adjLst/>
                                </dgm:shape>
                                <dgm:presOf/>
                                <dgm:constrLst/>
                                <dgm:ruleLst/>
                              </dgm:layoutNode>
                              <dgm:layoutNode name="right_1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1">
                              <dgm:choose name="Name32">
                                <dgm:if name="Name33" axis="ch ch" ptType="node node" st="2 1" cnt="1 0" func="cnt" op="gte" val="4">
                                  <dgm:layoutNode name="balance_14" styleLbl="alignAccFollowNode1">
                                    <dgm:varLst>
                                      <dgm:bulletEnabled val="1"/>
                                    </dgm:varLst>
                                    <dgm:alg type="sp"/>
                                    <dgm:shape xmlns:r="http://schemas.openxmlformats.org/officeDocument/2006/relationships" rot="4" type="rect" r:blip="">
                                      <dgm:adjLst/>
                                    </dgm:shape>
                                    <dgm:presOf/>
                                    <dgm:constrLst/>
                                    <dgm:ruleLst/>
                                  </dgm:layoutNode>
                                  <dgm:layoutNode name="right_1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1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1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4"/>
                              </dgm:choose>
                            </dgm:else>
                          </dgm:choose>
                        </dgm:else>
                      </dgm:choose>
                    </dgm:else>
                  </dgm:choose>
                </dgm:else>
              </dgm:choose>
            </dgm:if>
            <dgm:else name="Name35">
              <dgm:choose name="Name36">
                <dgm:if name="Name37" axis="ch ch" ptType="node node" st="1 1" cnt="1 0" func="cnt" op="equ" val="2">
                  <dgm:choose name="Name38">
                    <dgm:if name="Name39" axis="ch ch" ptType="node node" st="2 1" cnt="1 0" func="cnt" op="equ" val="0">
                      <dgm:layoutNode name="balance_20" styleLbl="alignAccFollowNode1">
                        <dgm:varLst>
                          <dgm:bulletEnabled val="1"/>
                        </dgm:varLst>
                        <dgm:alg type="sp"/>
                        <dgm:shape xmlns:r="http://schemas.openxmlformats.org/officeDocument/2006/relationships" rot="-4" type="rect" r:blip="">
                          <dgm:adjLst/>
                        </dgm:shape>
                        <dgm:presOf/>
                        <dgm:constrLst/>
                        <dgm:ruleLst/>
                      </dgm:layoutNode>
                      <dgm:layoutNode name="left_2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0">
                      <dgm:choose name="Name41">
                        <dgm:if name="Name42" axis="ch ch" ptType="node node" st="2 1" cnt="1 0" func="cnt" op="equ" val="1">
                          <dgm:layoutNode name="balance_21" styleLbl="alignAccFollowNode1">
                            <dgm:varLst>
                              <dgm:bulletEnabled val="1"/>
                            </dgm:varLst>
                            <dgm:alg type="sp"/>
                            <dgm:shape xmlns:r="http://schemas.openxmlformats.org/officeDocument/2006/relationships" rot="-4" type="rect" r:blip="">
                              <dgm:adjLst/>
                            </dgm:shape>
                            <dgm:presOf/>
                            <dgm:constrLst/>
                            <dgm:ruleLst/>
                          </dgm:layoutNode>
                          <dgm:layoutNode name="left_2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3">
                          <dgm:choose name="Name44">
                            <dgm:if name="Name45" axis="ch ch" ptType="node node" st="2 1" cnt="1 0" func="cnt" op="equ" val="2">
                              <dgm:layoutNode name="balance_22" styleLbl="alignAccFollowNode1">
                                <dgm:varLst>
                                  <dgm:bulletEnabled val="1"/>
                                </dgm:varLst>
                                <dgm:alg type="sp"/>
                                <dgm:shape xmlns:r="http://schemas.openxmlformats.org/officeDocument/2006/relationships" type="rect" r:blip="">
                                  <dgm:adjLst/>
                                </dgm:shape>
                                <dgm:presOf/>
                                <dgm:constrLst/>
                                <dgm:ruleLst/>
                              </dgm:layoutNode>
                              <dgm:layoutNode name="right_22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2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2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6">
                              <dgm:choose name="Name47">
                                <dgm:if name="Name48" axis="ch ch" ptType="node node" st="2 1" cnt="1 0" func="cnt" op="equ" val="3">
                                  <dgm:layoutNode name="balance_23" styleLbl="alignAccFollowNode1">
                                    <dgm:varLst>
                                      <dgm:bulletEnabled val="1"/>
                                    </dgm:varLst>
                                    <dgm:alg type="sp"/>
                                    <dgm:shape xmlns:r="http://schemas.openxmlformats.org/officeDocument/2006/relationships" rot="4" type="rect" r:blip="">
                                      <dgm:adjLst/>
                                    </dgm:shape>
                                    <dgm:presOf/>
                                    <dgm:constrLst/>
                                    <dgm:ruleLst/>
                                  </dgm:layoutNode>
                                  <dgm:layoutNode name="right_2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9">
                                  <dgm:choose name="Name50">
                                    <dgm:if name="Name51" axis="ch ch" ptType="node node" st="2 1" cnt="1 0" func="cnt" op="gte" val="4">
                                      <dgm:layoutNode name="balance_24" styleLbl="alignAccFollowNode1">
                                        <dgm:varLst>
                                          <dgm:bulletEnabled val="1"/>
                                        </dgm:varLst>
                                        <dgm:alg type="sp"/>
                                        <dgm:shape xmlns:r="http://schemas.openxmlformats.org/officeDocument/2006/relationships" rot="4" type="rect" r:blip="">
                                          <dgm:adjLst/>
                                        </dgm:shape>
                                        <dgm:presOf/>
                                        <dgm:constrLst/>
                                        <dgm:ruleLst/>
                                      </dgm:layoutNode>
                                      <dgm:layoutNode name="right_2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2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2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2"/>
                                  </dgm:choose>
                                </dgm:else>
                              </dgm:choose>
                            </dgm:else>
                          </dgm:choose>
                        </dgm:else>
                      </dgm:choose>
                    </dgm:else>
                  </dgm:choose>
                </dgm:if>
                <dgm:else name="Name53">
                  <dgm:choose name="Name54">
                    <dgm:if name="Name55" axis="ch ch" ptType="node node" st="1 1" cnt="1 0" func="cnt" op="equ" val="3">
                      <dgm:choose name="Name56">
                        <dgm:if name="Name57" axis="ch ch" ptType="node node" st="2 1" cnt="1 0" func="cnt" op="equ" val="0">
                          <dgm:layoutNode name="balance_30" styleLbl="alignAccFollowNode1">
                            <dgm:varLst>
                              <dgm:bulletEnabled val="1"/>
                            </dgm:varLst>
                            <dgm:alg type="sp"/>
                            <dgm:shape xmlns:r="http://schemas.openxmlformats.org/officeDocument/2006/relationships" rot="-4" type="rect" r:blip="">
                              <dgm:adjLst/>
                            </dgm:shape>
                            <dgm:presOf/>
                            <dgm:constrLst/>
                            <dgm:ruleLst/>
                          </dgm:layoutNode>
                          <dgm:layoutNode name="left_3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name="Name59">
                            <dgm:if name="Name60" axis="ch ch" ptType="node node" st="2 1" cnt="1 0" func="cnt" op="equ" val="1">
                              <dgm:layoutNode name="balance_31" styleLbl="alignAccFollowNode1">
                                <dgm:varLst>
                                  <dgm:bulletEnabled val="1"/>
                                </dgm:varLst>
                                <dgm:alg type="sp"/>
                                <dgm:shape xmlns:r="http://schemas.openxmlformats.org/officeDocument/2006/relationships" rot="-4" type="rect" r:blip="">
                                  <dgm:adjLst/>
                                </dgm:shape>
                                <dgm:presOf/>
                                <dgm:constrLst/>
                                <dgm:ruleLst/>
                              </dgm:layoutNode>
                              <dgm:layoutNode name="left_3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1">
                              <dgm:choose name="Name62">
                                <dgm:if name="Name63" axis="ch ch" ptType="node node" st="2 1" cnt="1 0" func="cnt" op="equ" val="2">
                                  <dgm:layoutNode name="balance_32" styleLbl="alignAccFollowNode1">
                                    <dgm:varLst>
                                      <dgm:bulletEnabled val="1"/>
                                    </dgm:varLst>
                                    <dgm:alg type="sp"/>
                                    <dgm:shape xmlns:r="http://schemas.openxmlformats.org/officeDocument/2006/relationships" rot="-4" type="rect" r:blip="">
                                      <dgm:adjLst/>
                                    </dgm:shape>
                                    <dgm:presOf/>
                                    <dgm:constrLst/>
                                    <dgm:ruleLst/>
                                  </dgm:layoutNode>
                                  <dgm:layoutNode name="left_3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4">
                                  <dgm:choose name="Name65">
                                    <dgm:if name="Name66" axis="ch ch" ptType="node node" st="2 1" cnt="1 0" func="cnt" op="equ" val="3">
                                      <dgm:layoutNode name="balance_33" styleLbl="alignAccFollowNode1">
                                        <dgm:varLst>
                                          <dgm:bulletEnabled val="1"/>
                                        </dgm:varLst>
                                        <dgm:alg type="sp"/>
                                        <dgm:shape xmlns:r="http://schemas.openxmlformats.org/officeDocument/2006/relationships" type="rect" r:blip="">
                                          <dgm:adjLst/>
                                        </dgm:shape>
                                        <dgm:presOf/>
                                        <dgm:constrLst/>
                                        <dgm:ruleLst/>
                                      </dgm:layoutNode>
                                      <dgm:layoutNode name="right_33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3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3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7">
                                      <dgm:choose name="Name68">
                                        <dgm:if name="Name69" axis="ch ch" ptType="node node" st="2 1" cnt="1 0" func="cnt" op="gte" val="4">
                                          <dgm:layoutNode name="balance_34" styleLbl="alignAccFollowNode1">
                                            <dgm:varLst>
                                              <dgm:bulletEnabled val="1"/>
                                            </dgm:varLst>
                                            <dgm:alg type="sp"/>
                                            <dgm:shape xmlns:r="http://schemas.openxmlformats.org/officeDocument/2006/relationships" rot="4" type="rect" r:blip="">
                                              <dgm:adjLst/>
                                            </dgm:shape>
                                            <dgm:presOf/>
                                            <dgm:constrLst/>
                                            <dgm:ruleLst/>
                                          </dgm:layoutNode>
                                          <dgm:layoutNode name="right_34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34_4" styleLbl="node1">
                                            <dgm:varLst>
                                              <dgm:bulletEnabled val="1"/>
                                            </dgm:varLst>
                                            <dgm:alg type="tx"/>
                                            <dgm:shape xmlns:r="http://schemas.openxmlformats.org/officeDocument/2006/relationships" rot="4"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34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0"/>
                                      </dgm:choose>
                                    </dgm:else>
                                  </dgm:choose>
                                </dgm:else>
                              </dgm:choose>
                            </dgm:else>
                          </dgm:choose>
                        </dgm:else>
                      </dgm:choose>
                    </dgm:if>
                    <dgm:else name="Name71">
                      <dgm:choose name="Name72">
                        <dgm:if name="Name73" axis="ch ch" ptType="node node" st="1 1" cnt="1 0" func="cnt" op="gte" val="4">
                          <dgm:choose name="Name74">
                            <dgm:if name="Name75" axis="ch ch" ptType="node node" st="2 1" cnt="1 0" func="cnt" op="equ" val="0">
                              <dgm:layoutNode name="balance_40" styleLbl="alignAccFollowNode1">
                                <dgm:varLst>
                                  <dgm:bulletEnabled val="1"/>
                                </dgm:varLst>
                                <dgm:alg type="sp"/>
                                <dgm:shape xmlns:r="http://schemas.openxmlformats.org/officeDocument/2006/relationships" rot="-4" type="rect" r:blip="">
                                  <dgm:adjLst/>
                                </dgm:shape>
                                <dgm:presOf/>
                                <dgm:constrLst/>
                                <dgm:ruleLst/>
                              </dgm:layoutNode>
                              <dgm:layoutNode name="left_40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0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6">
                              <dgm:choose name="Name77">
                                <dgm:if name="Name78" axis="ch ch" ptType="node node" st="2 1" cnt="1 0" func="cnt" op="equ" val="1">
                                  <dgm:layoutNode name="balance_41" styleLbl="alignAccFollowNode1">
                                    <dgm:varLst>
                                      <dgm:bulletEnabled val="1"/>
                                    </dgm:varLst>
                                    <dgm:alg type="sp"/>
                                    <dgm:shape xmlns:r="http://schemas.openxmlformats.org/officeDocument/2006/relationships" rot="-4" type="rect" r:blip="">
                                      <dgm:adjLst/>
                                    </dgm:shape>
                                    <dgm:presOf/>
                                    <dgm:constrLst/>
                                    <dgm:ruleLst/>
                                  </dgm:layoutNode>
                                  <dgm:layoutNode name="left_41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1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1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name="Name80">
                                    <dgm:if name="Name81" axis="ch ch" ptType="node node" st="2 1" cnt="1 0" func="cnt" op="equ" val="2">
                                      <dgm:layoutNode name="balance_42" styleLbl="alignAccFollowNode1">
                                        <dgm:varLst>
                                          <dgm:bulletEnabled val="1"/>
                                        </dgm:varLst>
                                        <dgm:alg type="sp"/>
                                        <dgm:shape xmlns:r="http://schemas.openxmlformats.org/officeDocument/2006/relationships" rot="-4" type="rect" r:blip="">
                                          <dgm:adjLst/>
                                        </dgm:shape>
                                        <dgm:presOf/>
                                        <dgm:constrLst/>
                                        <dgm:ruleLst/>
                                      </dgm:layoutNode>
                                      <dgm:layoutNode name="left_42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2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2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2">
                                      <dgm:choose name="Name83">
                                        <dgm:if name="Name84" axis="ch ch" ptType="node node" st="2 1" cnt="1 0" func="cnt" op="equ" val="3">
                                          <dgm:layoutNode name="balance_43" styleLbl="alignAccFollowNode1">
                                            <dgm:varLst>
                                              <dgm:bulletEnabled val="1"/>
                                            </dgm:varLst>
                                            <dgm:alg type="sp"/>
                                            <dgm:shape xmlns:r="http://schemas.openxmlformats.org/officeDocument/2006/relationships" rot="-4" type="rect" r:blip="">
                                              <dgm:adjLst/>
                                            </dgm:shape>
                                            <dgm:presOf/>
                                            <dgm:constrLst/>
                                            <dgm:ruleLst/>
                                          </dgm:layoutNode>
                                          <dgm:layoutNode name="left_43_1" styleLbl="node1">
                                            <dgm:varLst>
                                              <dgm:bulletEnabled val="1"/>
                                            </dgm:varLst>
                                            <dgm:alg type="tx"/>
                                            <dgm:shape xmlns:r="http://schemas.openxmlformats.org/officeDocument/2006/relationships" rot="-4"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2" styleLbl="node1">
                                            <dgm:varLst>
                                              <dgm:bulletEnabled val="1"/>
                                            </dgm:varLst>
                                            <dgm:alg type="tx"/>
                                            <dgm:shape xmlns:r="http://schemas.openxmlformats.org/officeDocument/2006/relationships" rot="-4"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3" styleLbl="node1">
                                            <dgm:varLst>
                                              <dgm:bulletEnabled val="1"/>
                                            </dgm:varLst>
                                            <dgm:alg type="tx"/>
                                            <dgm:shape xmlns:r="http://schemas.openxmlformats.org/officeDocument/2006/relationships" rot="-4"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3_4" styleLbl="node1">
                                            <dgm:varLst>
                                              <dgm:bulletEnabled val="1"/>
                                            </dgm:varLst>
                                            <dgm:alg type="tx"/>
                                            <dgm:shape xmlns:r="http://schemas.openxmlformats.org/officeDocument/2006/relationships" rot="-4"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1" styleLbl="node1">
                                            <dgm:varLst>
                                              <dgm:bulletEnabled val="1"/>
                                            </dgm:varLst>
                                            <dgm:alg type="tx"/>
                                            <dgm:shape xmlns:r="http://schemas.openxmlformats.org/officeDocument/2006/relationships" rot="-4"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2" styleLbl="node1">
                                            <dgm:varLst>
                                              <dgm:bulletEnabled val="1"/>
                                            </dgm:varLst>
                                            <dgm:alg type="tx"/>
                                            <dgm:shape xmlns:r="http://schemas.openxmlformats.org/officeDocument/2006/relationships" rot="-4"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3_3" styleLbl="node1">
                                            <dgm:varLst>
                                              <dgm:bulletEnabled val="1"/>
                                            </dgm:varLst>
                                            <dgm:alg type="tx"/>
                                            <dgm:shape xmlns:r="http://schemas.openxmlformats.org/officeDocument/2006/relationships" rot="-4"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5">
                                          <dgm:choose name="Name86">
                                            <dgm:if name="Name87" axis="ch ch" ptType="node node" st="2 1" cnt="1 0" func="cnt" op="gte" val="4">
                                              <dgm:layoutNode name="balance_44" styleLbl="alignAccFollowNode1">
                                                <dgm:varLst>
                                                  <dgm:bulletEnabled val="1"/>
                                                </dgm:varLst>
                                                <dgm:alg type="sp"/>
                                                <dgm:shape xmlns:r="http://schemas.openxmlformats.org/officeDocument/2006/relationships" type="rect" r:blip="">
                                                  <dgm:adjLst/>
                                                </dgm:shape>
                                                <dgm:presOf/>
                                                <dgm:constrLst/>
                                                <dgm:ruleLst/>
                                              </dgm:layoutNode>
                                              <dgm:layoutNode name="right_44_1" styleLbl="node1">
                                                <dgm:varLst>
                                                  <dgm:bulletEnabled val="1"/>
                                                </dgm:varLst>
                                                <dgm:alg type="tx"/>
                                                <dgm:shape xmlns:r="http://schemas.openxmlformats.org/officeDocument/2006/relationships" type="roundRect" r:blip="">
                                                  <dgm:adjLst/>
                                                </dgm:shape>
                                                <dgm:presOf axis="ch ch desOrSelf" ptType="node node node" st="2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2" styleLbl="node1">
                                                <dgm:varLst>
                                                  <dgm:bulletEnabled val="1"/>
                                                </dgm:varLst>
                                                <dgm:alg type="tx"/>
                                                <dgm:shape xmlns:r="http://schemas.openxmlformats.org/officeDocument/2006/relationships" type="roundRect" r:blip="">
                                                  <dgm:adjLst/>
                                                </dgm:shape>
                                                <dgm:presOf axis="ch ch desOrSelf" ptType="node node node" st="2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3" styleLbl="node1">
                                                <dgm:varLst>
                                                  <dgm:bulletEnabled val="1"/>
                                                </dgm:varLst>
                                                <dgm:alg type="tx"/>
                                                <dgm:shape xmlns:r="http://schemas.openxmlformats.org/officeDocument/2006/relationships" type="roundRect" r:blip="">
                                                  <dgm:adjLst/>
                                                </dgm:shape>
                                                <dgm:presOf axis="ch ch desOrSelf" ptType="node node node" st="2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ight_44_4" styleLbl="node1">
                                                <dgm:varLst>
                                                  <dgm:bulletEnabled val="1"/>
                                                </dgm:varLst>
                                                <dgm:alg type="tx"/>
                                                <dgm:shape xmlns:r="http://schemas.openxmlformats.org/officeDocument/2006/relationships" type="roundRect" r:blip="">
                                                  <dgm:adjLst/>
                                                </dgm:shape>
                                                <dgm:presOf axis="ch ch desOrSelf" ptType="node node node" st="2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1" styleLbl="node1">
                                                <dgm:varLst>
                                                  <dgm:bulletEnabled val="1"/>
                                                </dgm:varLst>
                                                <dgm:alg type="tx"/>
                                                <dgm:shape xmlns:r="http://schemas.openxmlformats.org/officeDocument/2006/relationships" type="roundRect" r:blip="">
                                                  <dgm:adjLst/>
                                                </dgm:shape>
                                                <dgm:presOf axis="ch ch desOrSelf" ptType="node node node" st="1 1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2" styleLbl="node1">
                                                <dgm:varLst>
                                                  <dgm:bulletEnabled val="1"/>
                                                </dgm:varLst>
                                                <dgm:alg type="tx"/>
                                                <dgm:shape xmlns:r="http://schemas.openxmlformats.org/officeDocument/2006/relationships" type="roundRect" r:blip="">
                                                  <dgm:adjLst/>
                                                </dgm:shape>
                                                <dgm:presOf axis="ch ch desOrSelf" ptType="node node node" st="1 2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3" styleLbl="node1">
                                                <dgm:varLst>
                                                  <dgm:bulletEnabled val="1"/>
                                                </dgm:varLst>
                                                <dgm:alg type="tx"/>
                                                <dgm:shape xmlns:r="http://schemas.openxmlformats.org/officeDocument/2006/relationships" type="roundRect" r:blip="">
                                                  <dgm:adjLst/>
                                                </dgm:shape>
                                                <dgm:presOf axis="ch ch desOrSelf" ptType="node node node" st="1 3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left_44_4" styleLbl="node1">
                                                <dgm:varLst>
                                                  <dgm:bulletEnabled val="1"/>
                                                </dgm:varLst>
                                                <dgm:alg type="tx"/>
                                                <dgm:shape xmlns:r="http://schemas.openxmlformats.org/officeDocument/2006/relationships" type="roundRect" r:blip="">
                                                  <dgm:adjLst/>
                                                </dgm:shape>
                                                <dgm:presOf axis="ch ch desOrSelf" ptType="node node node" st="1 4 1" cnt="1 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8"/>
                                          </dgm:choose>
                                        </dgm:else>
                                      </dgm:choose>
                                    </dgm:else>
                                  </dgm:choose>
                                </dgm:else>
                              </dgm:choose>
                            </dgm:else>
                          </dgm:choose>
                        </dgm:if>
                        <dgm:else name="Name89"/>
                      </dgm:choose>
                    </dgm:else>
                  </dgm:choose>
                </dgm:else>
              </dgm:choose>
            </dgm:else>
          </dgm:choose>
        </dgm:else>
      </dgm:choos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drawing1.xml><?xml version="1.0" encoding="utf-8"?>
<c:userShapes xmlns:c="http://schemas.openxmlformats.org/drawingml/2006/chart">
  <cdr:relSizeAnchor xmlns:cdr="http://schemas.openxmlformats.org/drawingml/2006/chartDrawing">
    <cdr:from>
      <cdr:x>0.20332</cdr:x>
      <cdr:y>0.63176</cdr:y>
    </cdr:from>
    <cdr:to>
      <cdr:x>0.27593</cdr:x>
      <cdr:y>0.72949</cdr:y>
    </cdr:to>
    <cdr:sp macro="" textlink="">
      <cdr:nvSpPr>
        <cdr:cNvPr id="2" name="TextBox 1">
          <a:extLst xmlns:a="http://schemas.openxmlformats.org/drawingml/2006/main">
            <a:ext uri="{FF2B5EF4-FFF2-40B4-BE49-F238E27FC236}">
              <a16:creationId xmlns:a16="http://schemas.microsoft.com/office/drawing/2014/main" id="{078006B2-4315-4B97-921B-866696037F3A}"/>
            </a:ext>
          </a:extLst>
        </cdr:cNvPr>
        <cdr:cNvSpPr txBox="1"/>
      </cdr:nvSpPr>
      <cdr:spPr>
        <a:xfrm xmlns:a="http://schemas.openxmlformats.org/drawingml/2006/main">
          <a:off x="933449" y="1724025"/>
          <a:ext cx="333375" cy="2667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ZA" sz="1050" b="1"/>
        </a:p>
      </cdr:txBody>
    </cdr:sp>
  </cdr:relSizeAnchor>
  <cdr:relSizeAnchor xmlns:cdr="http://schemas.openxmlformats.org/drawingml/2006/chartDrawing">
    <cdr:from>
      <cdr:x>0.139</cdr:x>
      <cdr:y>0.55497</cdr:y>
    </cdr:from>
    <cdr:to>
      <cdr:x>0.19295</cdr:x>
      <cdr:y>0.63525</cdr:y>
    </cdr:to>
    <cdr:sp macro="" textlink="">
      <cdr:nvSpPr>
        <cdr:cNvPr id="3" name="TextBox 2">
          <a:extLst xmlns:a="http://schemas.openxmlformats.org/drawingml/2006/main">
            <a:ext uri="{FF2B5EF4-FFF2-40B4-BE49-F238E27FC236}">
              <a16:creationId xmlns:a16="http://schemas.microsoft.com/office/drawing/2014/main" id="{4DAB7AB9-D498-4AD6-9652-0D390E5B4A05}"/>
            </a:ext>
          </a:extLst>
        </cdr:cNvPr>
        <cdr:cNvSpPr txBox="1"/>
      </cdr:nvSpPr>
      <cdr:spPr>
        <a:xfrm xmlns:a="http://schemas.openxmlformats.org/drawingml/2006/main">
          <a:off x="638175" y="1514475"/>
          <a:ext cx="247650" cy="21907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ZA" sz="110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136"/>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4" y="0"/>
            <a:ext cx="2945659" cy="498136"/>
          </a:xfrm>
          <a:prstGeom prst="rect">
            <a:avLst/>
          </a:prstGeom>
        </p:spPr>
        <p:txBody>
          <a:bodyPr vert="horz" lIns="91440" tIns="45720" rIns="91440" bIns="45720" rtlCol="0"/>
          <a:lstStyle>
            <a:lvl1pPr algn="r">
              <a:defRPr sz="1200"/>
            </a:lvl1pPr>
          </a:lstStyle>
          <a:p>
            <a:fld id="{9375A151-0937-4ED4-8DE2-446F26962BC2}" type="datetimeFigureOut">
              <a:rPr lang="en-ZA" smtClean="0"/>
              <a:t>2022/03/29</a:t>
            </a:fld>
            <a:endParaRPr lang="en-ZA"/>
          </a:p>
        </p:txBody>
      </p:sp>
      <p:sp>
        <p:nvSpPr>
          <p:cNvPr id="4" name="Slide Image Placeholder 3"/>
          <p:cNvSpPr>
            <a:spLocks noGrp="1" noRot="1" noChangeAspect="1"/>
          </p:cNvSpPr>
          <p:nvPr>
            <p:ph type="sldImg" idx="2"/>
          </p:nvPr>
        </p:nvSpPr>
        <p:spPr>
          <a:xfrm>
            <a:off x="981075" y="1241425"/>
            <a:ext cx="4835525" cy="3349625"/>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430092"/>
            <a:ext cx="2945659" cy="498135"/>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4" y="9430092"/>
            <a:ext cx="2945659" cy="498135"/>
          </a:xfrm>
          <a:prstGeom prst="rect">
            <a:avLst/>
          </a:prstGeom>
        </p:spPr>
        <p:txBody>
          <a:bodyPr vert="horz" lIns="91440" tIns="45720" rIns="91440" bIns="45720" rtlCol="0" anchor="b"/>
          <a:lstStyle>
            <a:lvl1pPr algn="r">
              <a:defRPr sz="1200"/>
            </a:lvl1pPr>
          </a:lstStyle>
          <a:p>
            <a:fld id="{EE7F15EF-8237-4E39-96E8-3BB6C3C9B2A1}" type="slidenum">
              <a:rPr lang="en-ZA" smtClean="0"/>
              <a:t>‹#›</a:t>
            </a:fld>
            <a:endParaRPr lang="en-ZA"/>
          </a:p>
        </p:txBody>
      </p:sp>
    </p:spTree>
    <p:extLst>
      <p:ext uri="{BB962C8B-B14F-4D97-AF65-F5344CB8AC3E}">
        <p14:creationId xmlns:p14="http://schemas.microsoft.com/office/powerpoint/2010/main" val="10484488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image" Target="../media/image7.jpe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TextBox 6"/>
          <p:cNvSpPr txBox="1"/>
          <p:nvPr userDrawn="1"/>
        </p:nvSpPr>
        <p:spPr>
          <a:xfrm>
            <a:off x="3038323" y="332657"/>
            <a:ext cx="184730" cy="646331"/>
          </a:xfrm>
          <a:prstGeom prst="rect">
            <a:avLst/>
          </a:prstGeom>
          <a:noFill/>
        </p:spPr>
        <p:txBody>
          <a:bodyPr wrap="none" rtlCol="0">
            <a:spAutoFit/>
          </a:bodyPr>
          <a:lstStyle/>
          <a:p>
            <a:endParaRPr lang="en-ZA" sz="3600" b="1"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007604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846E177-20D6-4D3B-BB3B-00BE52236B9B}" type="datetimeFigureOut">
              <a:rPr lang="en-US" smtClean="0"/>
              <a:t>3/2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99120D-CA9A-424F-A4E8-9DD22D0D2356}" type="slidenum">
              <a:rPr lang="en-US" smtClean="0"/>
              <a:t>‹#›</a:t>
            </a:fld>
            <a:endParaRPr lang="en-US"/>
          </a:p>
        </p:txBody>
      </p:sp>
    </p:spTree>
    <p:extLst>
      <p:ext uri="{BB962C8B-B14F-4D97-AF65-F5344CB8AC3E}">
        <p14:creationId xmlns:p14="http://schemas.microsoft.com/office/powerpoint/2010/main" val="19058414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88982" y="365125"/>
            <a:ext cx="2135981"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81038" y="365125"/>
            <a:ext cx="6284119"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846E177-20D6-4D3B-BB3B-00BE52236B9B}" type="datetimeFigureOut">
              <a:rPr lang="en-US" smtClean="0"/>
              <a:t>3/2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99120D-CA9A-424F-A4E8-9DD22D0D2356}" type="slidenum">
              <a:rPr lang="en-US" smtClean="0"/>
              <a:t>‹#›</a:t>
            </a:fld>
            <a:endParaRPr lang="en-US"/>
          </a:p>
        </p:txBody>
      </p:sp>
    </p:spTree>
    <p:extLst>
      <p:ext uri="{BB962C8B-B14F-4D97-AF65-F5344CB8AC3E}">
        <p14:creationId xmlns:p14="http://schemas.microsoft.com/office/powerpoint/2010/main" val="39703437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fld id="{F390F034-FBA9-4E4D-99D6-7DF541582D2E}" type="datetimeFigureOut">
              <a:rPr lang="en-ZA">
                <a:solidFill>
                  <a:prstClr val="black">
                    <a:tint val="75000"/>
                  </a:prstClr>
                </a:solidFill>
              </a:rPr>
              <a:pPr>
                <a:defRPr/>
              </a:pPr>
              <a:t>2022/03/29</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ZA">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EF330798-F94E-4B24-9FB1-E93A0490736A}" type="slidenum">
              <a:rPr lang="en-ZA" altLang="en-US"/>
              <a:pPr>
                <a:defRPr/>
              </a:pPr>
              <a:t>‹#›</a:t>
            </a:fld>
            <a:endParaRPr lang="en-ZA" altLang="en-US"/>
          </a:p>
        </p:txBody>
      </p:sp>
      <p:grpSp>
        <p:nvGrpSpPr>
          <p:cNvPr id="7" name="Group 6"/>
          <p:cNvGrpSpPr/>
          <p:nvPr userDrawn="1"/>
        </p:nvGrpSpPr>
        <p:grpSpPr>
          <a:xfrm>
            <a:off x="401234" y="6428356"/>
            <a:ext cx="9415306" cy="391871"/>
            <a:chOff x="401234" y="6428346"/>
            <a:chExt cx="9415306" cy="391871"/>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1234" y="6624274"/>
              <a:ext cx="8008150" cy="117094"/>
            </a:xfrm>
            <a:prstGeom prst="rect">
              <a:avLst/>
            </a:prstGeom>
          </p:spPr>
        </p:pic>
        <p:grpSp>
          <p:nvGrpSpPr>
            <p:cNvPr id="9" name="Group 8"/>
            <p:cNvGrpSpPr/>
            <p:nvPr userDrawn="1"/>
          </p:nvGrpSpPr>
          <p:grpSpPr>
            <a:xfrm>
              <a:off x="8481392" y="6428346"/>
              <a:ext cx="1335148" cy="391871"/>
              <a:chOff x="17452" y="5929224"/>
              <a:chExt cx="1983220" cy="582083"/>
            </a:xfrm>
          </p:grpSpPr>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452" y="5929224"/>
                <a:ext cx="1047116" cy="582083"/>
              </a:xfrm>
              <a:prstGeom prst="rect">
                <a:avLst/>
              </a:prstGeom>
            </p:spPr>
          </p:pic>
          <p:pic>
            <p:nvPicPr>
              <p:cNvPr id="11" name="Picture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6576" y="5949102"/>
                <a:ext cx="864096" cy="516256"/>
              </a:xfrm>
              <a:prstGeom prst="rect">
                <a:avLst/>
              </a:prstGeom>
            </p:spPr>
          </p:pic>
        </p:grpSp>
      </p:gr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7585" y="825100"/>
            <a:ext cx="9578983" cy="45719"/>
          </a:xfrm>
          <a:prstGeom prst="rect">
            <a:avLst/>
          </a:prstGeom>
        </p:spPr>
      </p:pic>
    </p:spTree>
    <p:extLst>
      <p:ext uri="{BB962C8B-B14F-4D97-AF65-F5344CB8AC3E}">
        <p14:creationId xmlns:p14="http://schemas.microsoft.com/office/powerpoint/2010/main" val="32591045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Titelfolie">
    <p:spTree>
      <p:nvGrpSpPr>
        <p:cNvPr id="1" name=""/>
        <p:cNvGrpSpPr/>
        <p:nvPr/>
      </p:nvGrpSpPr>
      <p:grpSpPr>
        <a:xfrm>
          <a:off x="0" y="0"/>
          <a:ext cx="0" cy="0"/>
          <a:chOff x="0" y="0"/>
          <a:chExt cx="0" cy="0"/>
        </a:xfrm>
      </p:grpSpPr>
      <p:pic>
        <p:nvPicPr>
          <p:cNvPr id="26" name="Bild 25"/>
          <p:cNvPicPr>
            <a:picLocks noChangeAspect="1"/>
          </p:cNvPicPr>
          <p:nvPr userDrawn="1"/>
        </p:nvPicPr>
        <p:blipFill rotWithShape="1">
          <a:blip r:embed="rId4">
            <a:extLst>
              <a:ext uri="{28A0092B-C50C-407E-A947-70E740481C1C}">
                <a14:useLocalDpi xmlns:a14="http://schemas.microsoft.com/office/drawing/2010/main"/>
              </a:ext>
            </a:extLst>
          </a:blip>
          <a:srcRect t="17109"/>
          <a:stretch/>
        </p:blipFill>
        <p:spPr>
          <a:xfrm>
            <a:off x="1" y="2104426"/>
            <a:ext cx="9916914" cy="3743076"/>
          </a:xfrm>
          <a:prstGeom prst="rect">
            <a:avLst/>
          </a:prstGeom>
        </p:spPr>
      </p:pic>
      <p:sp>
        <p:nvSpPr>
          <p:cNvPr id="21" name="Rechteck 25"/>
          <p:cNvSpPr/>
          <p:nvPr userDrawn="1"/>
        </p:nvSpPr>
        <p:spPr bwMode="auto">
          <a:xfrm>
            <a:off x="-16252" y="10594"/>
            <a:ext cx="9948163" cy="6864841"/>
          </a:xfrm>
          <a:custGeom>
            <a:avLst/>
            <a:gdLst>
              <a:gd name="connsiteX0" fmla="*/ 9083040 w 9972668"/>
              <a:gd name="connsiteY0" fmla="*/ 4874676 h 6924674"/>
              <a:gd name="connsiteX1" fmla="*/ 9928860 w 9972668"/>
              <a:gd name="connsiteY1" fmla="*/ 4874676 h 6924674"/>
              <a:gd name="connsiteX2" fmla="*/ 9928860 w 9972668"/>
              <a:gd name="connsiteY2" fmla="*/ 6924674 h 6924674"/>
              <a:gd name="connsiteX3" fmla="*/ 9921239 w 9972668"/>
              <a:gd name="connsiteY3" fmla="*/ 6924674 h 6924674"/>
              <a:gd name="connsiteX4" fmla="*/ 9083040 w 9972668"/>
              <a:gd name="connsiteY4" fmla="*/ 6924674 h 6924674"/>
              <a:gd name="connsiteX5" fmla="*/ 6776166 w 9972668"/>
              <a:gd name="connsiteY5" fmla="*/ 6924674 h 6924674"/>
              <a:gd name="connsiteX6" fmla="*/ 5825556 w 9972668"/>
              <a:gd name="connsiteY6" fmla="*/ 6924674 h 6924674"/>
              <a:gd name="connsiteX7" fmla="*/ 5825555 w 9972668"/>
              <a:gd name="connsiteY7" fmla="*/ 6924674 h 6924674"/>
              <a:gd name="connsiteX8" fmla="*/ 0 w 9972668"/>
              <a:gd name="connsiteY8" fmla="*/ 6924674 h 6924674"/>
              <a:gd name="connsiteX9" fmla="*/ 0 w 9972668"/>
              <a:gd name="connsiteY9" fmla="*/ 4878161 h 6924674"/>
              <a:gd name="connsiteX10" fmla="*/ 5825556 w 9972668"/>
              <a:gd name="connsiteY10" fmla="*/ 4878161 h 6924674"/>
              <a:gd name="connsiteX11" fmla="*/ 5825556 w 9972668"/>
              <a:gd name="connsiteY11" fmla="*/ 5804668 h 6924674"/>
              <a:gd name="connsiteX12" fmla="*/ 6776166 w 9972668"/>
              <a:gd name="connsiteY12" fmla="*/ 5804668 h 6924674"/>
              <a:gd name="connsiteX13" fmla="*/ 6776166 w 9972668"/>
              <a:gd name="connsiteY13" fmla="*/ 4878176 h 6924674"/>
              <a:gd name="connsiteX14" fmla="*/ 9083040 w 9972668"/>
              <a:gd name="connsiteY14" fmla="*/ 4878176 h 6924674"/>
              <a:gd name="connsiteX15" fmla="*/ 9083040 w 9972668"/>
              <a:gd name="connsiteY15" fmla="*/ 4874676 h 6924674"/>
              <a:gd name="connsiteX16" fmla="*/ 7619 w 9972668"/>
              <a:gd name="connsiteY16" fmla="*/ 0 h 6924674"/>
              <a:gd name="connsiteX17" fmla="*/ 9928860 w 9972668"/>
              <a:gd name="connsiteY17" fmla="*/ 0 h 6924674"/>
              <a:gd name="connsiteX18" fmla="*/ 9972668 w 9972668"/>
              <a:gd name="connsiteY18" fmla="*/ 1693003 h 6924674"/>
              <a:gd name="connsiteX19" fmla="*/ 7619 w 9972668"/>
              <a:gd name="connsiteY19" fmla="*/ 2054310 h 6924674"/>
              <a:gd name="connsiteX20" fmla="*/ 7619 w 9972668"/>
              <a:gd name="connsiteY20" fmla="*/ 0 h 6924674"/>
              <a:gd name="connsiteX0" fmla="*/ 9083040 w 9928860"/>
              <a:gd name="connsiteY0" fmla="*/ 4874676 h 6924674"/>
              <a:gd name="connsiteX1" fmla="*/ 9928860 w 9928860"/>
              <a:gd name="connsiteY1" fmla="*/ 4874676 h 6924674"/>
              <a:gd name="connsiteX2" fmla="*/ 9928860 w 9928860"/>
              <a:gd name="connsiteY2" fmla="*/ 6924674 h 6924674"/>
              <a:gd name="connsiteX3" fmla="*/ 9921239 w 9928860"/>
              <a:gd name="connsiteY3" fmla="*/ 6924674 h 6924674"/>
              <a:gd name="connsiteX4" fmla="*/ 9083040 w 9928860"/>
              <a:gd name="connsiteY4" fmla="*/ 6924674 h 6924674"/>
              <a:gd name="connsiteX5" fmla="*/ 6776166 w 9928860"/>
              <a:gd name="connsiteY5" fmla="*/ 6924674 h 6924674"/>
              <a:gd name="connsiteX6" fmla="*/ 5825556 w 9928860"/>
              <a:gd name="connsiteY6" fmla="*/ 6924674 h 6924674"/>
              <a:gd name="connsiteX7" fmla="*/ 5825555 w 9928860"/>
              <a:gd name="connsiteY7" fmla="*/ 6924674 h 6924674"/>
              <a:gd name="connsiteX8" fmla="*/ 0 w 9928860"/>
              <a:gd name="connsiteY8" fmla="*/ 6924674 h 6924674"/>
              <a:gd name="connsiteX9" fmla="*/ 0 w 9928860"/>
              <a:gd name="connsiteY9" fmla="*/ 4878161 h 6924674"/>
              <a:gd name="connsiteX10" fmla="*/ 5825556 w 9928860"/>
              <a:gd name="connsiteY10" fmla="*/ 4878161 h 6924674"/>
              <a:gd name="connsiteX11" fmla="*/ 5825556 w 9928860"/>
              <a:gd name="connsiteY11" fmla="*/ 5804668 h 6924674"/>
              <a:gd name="connsiteX12" fmla="*/ 6776166 w 9928860"/>
              <a:gd name="connsiteY12" fmla="*/ 5804668 h 6924674"/>
              <a:gd name="connsiteX13" fmla="*/ 6776166 w 9928860"/>
              <a:gd name="connsiteY13" fmla="*/ 4878176 h 6924674"/>
              <a:gd name="connsiteX14" fmla="*/ 9083040 w 9928860"/>
              <a:gd name="connsiteY14" fmla="*/ 4878176 h 6924674"/>
              <a:gd name="connsiteX15" fmla="*/ 9083040 w 9928860"/>
              <a:gd name="connsiteY15" fmla="*/ 4874676 h 6924674"/>
              <a:gd name="connsiteX16" fmla="*/ 7619 w 9928860"/>
              <a:gd name="connsiteY16" fmla="*/ 0 h 6924674"/>
              <a:gd name="connsiteX17" fmla="*/ 9928860 w 9928860"/>
              <a:gd name="connsiteY17" fmla="*/ 0 h 6924674"/>
              <a:gd name="connsiteX18" fmla="*/ 9928860 w 9928860"/>
              <a:gd name="connsiteY18" fmla="*/ 2087156 h 6924674"/>
              <a:gd name="connsiteX19" fmla="*/ 7619 w 9928860"/>
              <a:gd name="connsiteY19" fmla="*/ 2054310 h 6924674"/>
              <a:gd name="connsiteX20" fmla="*/ 7619 w 9928860"/>
              <a:gd name="connsiteY20" fmla="*/ 0 h 6924674"/>
              <a:gd name="connsiteX0" fmla="*/ 9083040 w 9928860"/>
              <a:gd name="connsiteY0" fmla="*/ 4874676 h 6924674"/>
              <a:gd name="connsiteX1" fmla="*/ 9928860 w 9928860"/>
              <a:gd name="connsiteY1" fmla="*/ 4874676 h 6924674"/>
              <a:gd name="connsiteX2" fmla="*/ 9928860 w 9928860"/>
              <a:gd name="connsiteY2" fmla="*/ 6924674 h 6924674"/>
              <a:gd name="connsiteX3" fmla="*/ 9921239 w 9928860"/>
              <a:gd name="connsiteY3" fmla="*/ 6924674 h 6924674"/>
              <a:gd name="connsiteX4" fmla="*/ 9083040 w 9928860"/>
              <a:gd name="connsiteY4" fmla="*/ 6924674 h 6924674"/>
              <a:gd name="connsiteX5" fmla="*/ 6776166 w 9928860"/>
              <a:gd name="connsiteY5" fmla="*/ 6924674 h 6924674"/>
              <a:gd name="connsiteX6" fmla="*/ 5825556 w 9928860"/>
              <a:gd name="connsiteY6" fmla="*/ 6924674 h 6924674"/>
              <a:gd name="connsiteX7" fmla="*/ 5825555 w 9928860"/>
              <a:gd name="connsiteY7" fmla="*/ 6924674 h 6924674"/>
              <a:gd name="connsiteX8" fmla="*/ 0 w 9928860"/>
              <a:gd name="connsiteY8" fmla="*/ 6924674 h 6924674"/>
              <a:gd name="connsiteX9" fmla="*/ 0 w 9928860"/>
              <a:gd name="connsiteY9" fmla="*/ 4878161 h 6924674"/>
              <a:gd name="connsiteX10" fmla="*/ 5825556 w 9928860"/>
              <a:gd name="connsiteY10" fmla="*/ 4878161 h 6924674"/>
              <a:gd name="connsiteX11" fmla="*/ 5825556 w 9928860"/>
              <a:gd name="connsiteY11" fmla="*/ 5804668 h 6924674"/>
              <a:gd name="connsiteX12" fmla="*/ 6776166 w 9928860"/>
              <a:gd name="connsiteY12" fmla="*/ 5804668 h 6924674"/>
              <a:gd name="connsiteX13" fmla="*/ 6776166 w 9928860"/>
              <a:gd name="connsiteY13" fmla="*/ 4878176 h 6924674"/>
              <a:gd name="connsiteX14" fmla="*/ 9083040 w 9928860"/>
              <a:gd name="connsiteY14" fmla="*/ 4878176 h 6924674"/>
              <a:gd name="connsiteX15" fmla="*/ 9083040 w 9928860"/>
              <a:gd name="connsiteY15" fmla="*/ 4874676 h 6924674"/>
              <a:gd name="connsiteX16" fmla="*/ 7619 w 9928860"/>
              <a:gd name="connsiteY16" fmla="*/ 0 h 6924674"/>
              <a:gd name="connsiteX17" fmla="*/ 9928860 w 9928860"/>
              <a:gd name="connsiteY17" fmla="*/ 0 h 6924674"/>
              <a:gd name="connsiteX18" fmla="*/ 9928860 w 9928860"/>
              <a:gd name="connsiteY18" fmla="*/ 2087156 h 6924674"/>
              <a:gd name="connsiteX19" fmla="*/ 7619 w 9928860"/>
              <a:gd name="connsiteY19" fmla="*/ 2082429 h 6924674"/>
              <a:gd name="connsiteX20" fmla="*/ 7619 w 9928860"/>
              <a:gd name="connsiteY20" fmla="*/ 0 h 6924674"/>
              <a:gd name="connsiteX0" fmla="*/ 9086659 w 9932479"/>
              <a:gd name="connsiteY0" fmla="*/ 4874676 h 6924674"/>
              <a:gd name="connsiteX1" fmla="*/ 9932479 w 9932479"/>
              <a:gd name="connsiteY1" fmla="*/ 4874676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829175 w 9932479"/>
              <a:gd name="connsiteY10" fmla="*/ 4878161 h 6924674"/>
              <a:gd name="connsiteX11" fmla="*/ 5829175 w 9932479"/>
              <a:gd name="connsiteY11" fmla="*/ 5804668 h 6924674"/>
              <a:gd name="connsiteX12" fmla="*/ 6779785 w 9932479"/>
              <a:gd name="connsiteY12" fmla="*/ 5804668 h 6924674"/>
              <a:gd name="connsiteX13" fmla="*/ 6779785 w 9932479"/>
              <a:gd name="connsiteY13" fmla="*/ 4878176 h 6924674"/>
              <a:gd name="connsiteX14" fmla="*/ 9086659 w 9932479"/>
              <a:gd name="connsiteY14" fmla="*/ 4878176 h 6924674"/>
              <a:gd name="connsiteX15" fmla="*/ 9086659 w 9932479"/>
              <a:gd name="connsiteY15" fmla="*/ 4874676 h 6924674"/>
              <a:gd name="connsiteX16" fmla="*/ 11238 w 9932479"/>
              <a:gd name="connsiteY16" fmla="*/ 0 h 6924674"/>
              <a:gd name="connsiteX17" fmla="*/ 9932479 w 9932479"/>
              <a:gd name="connsiteY17" fmla="*/ 0 h 6924674"/>
              <a:gd name="connsiteX18" fmla="*/ 9932479 w 9932479"/>
              <a:gd name="connsiteY18" fmla="*/ 2087156 h 6924674"/>
              <a:gd name="connsiteX19" fmla="*/ 11238 w 9932479"/>
              <a:gd name="connsiteY19" fmla="*/ 2082429 h 6924674"/>
              <a:gd name="connsiteX20" fmla="*/ 11238 w 9932479"/>
              <a:gd name="connsiteY20" fmla="*/ 0 h 6924674"/>
              <a:gd name="connsiteX0" fmla="*/ 9086659 w 9932479"/>
              <a:gd name="connsiteY0" fmla="*/ 4874676 h 6924674"/>
              <a:gd name="connsiteX1" fmla="*/ 9932479 w 9932479"/>
              <a:gd name="connsiteY1" fmla="*/ 4874676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829175 w 9932479"/>
              <a:gd name="connsiteY10" fmla="*/ 4863688 h 6924674"/>
              <a:gd name="connsiteX11" fmla="*/ 5829175 w 9932479"/>
              <a:gd name="connsiteY11" fmla="*/ 5804668 h 6924674"/>
              <a:gd name="connsiteX12" fmla="*/ 6779785 w 9932479"/>
              <a:gd name="connsiteY12" fmla="*/ 5804668 h 6924674"/>
              <a:gd name="connsiteX13" fmla="*/ 6779785 w 9932479"/>
              <a:gd name="connsiteY13" fmla="*/ 4878176 h 6924674"/>
              <a:gd name="connsiteX14" fmla="*/ 9086659 w 9932479"/>
              <a:gd name="connsiteY14" fmla="*/ 4878176 h 6924674"/>
              <a:gd name="connsiteX15" fmla="*/ 9086659 w 9932479"/>
              <a:gd name="connsiteY15" fmla="*/ 4874676 h 6924674"/>
              <a:gd name="connsiteX16" fmla="*/ 11238 w 9932479"/>
              <a:gd name="connsiteY16" fmla="*/ 0 h 6924674"/>
              <a:gd name="connsiteX17" fmla="*/ 9932479 w 9932479"/>
              <a:gd name="connsiteY17" fmla="*/ 0 h 6924674"/>
              <a:gd name="connsiteX18" fmla="*/ 9932479 w 9932479"/>
              <a:gd name="connsiteY18" fmla="*/ 2087156 h 6924674"/>
              <a:gd name="connsiteX19" fmla="*/ 11238 w 9932479"/>
              <a:gd name="connsiteY19" fmla="*/ 2082429 h 6924674"/>
              <a:gd name="connsiteX20" fmla="*/ 11238 w 9932479"/>
              <a:gd name="connsiteY20" fmla="*/ 0 h 6924674"/>
              <a:gd name="connsiteX0" fmla="*/ 9086659 w 9932479"/>
              <a:gd name="connsiteY0" fmla="*/ 4874676 h 6924674"/>
              <a:gd name="connsiteX1" fmla="*/ 9932479 w 9932479"/>
              <a:gd name="connsiteY1" fmla="*/ 4874676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829175 w 9932479"/>
              <a:gd name="connsiteY10" fmla="*/ 4863688 h 6924674"/>
              <a:gd name="connsiteX11" fmla="*/ 5829175 w 9932479"/>
              <a:gd name="connsiteY11" fmla="*/ 5804668 h 6924674"/>
              <a:gd name="connsiteX12" fmla="*/ 6779785 w 9932479"/>
              <a:gd name="connsiteY12" fmla="*/ 5804668 h 6924674"/>
              <a:gd name="connsiteX13" fmla="*/ 6779786 w 9932479"/>
              <a:gd name="connsiteY13" fmla="*/ 4856466 h 6924674"/>
              <a:gd name="connsiteX14" fmla="*/ 9086659 w 9932479"/>
              <a:gd name="connsiteY14" fmla="*/ 4878176 h 6924674"/>
              <a:gd name="connsiteX15" fmla="*/ 9086659 w 9932479"/>
              <a:gd name="connsiteY15" fmla="*/ 4874676 h 6924674"/>
              <a:gd name="connsiteX16" fmla="*/ 11238 w 9932479"/>
              <a:gd name="connsiteY16" fmla="*/ 0 h 6924674"/>
              <a:gd name="connsiteX17" fmla="*/ 9932479 w 9932479"/>
              <a:gd name="connsiteY17" fmla="*/ 0 h 6924674"/>
              <a:gd name="connsiteX18" fmla="*/ 9932479 w 9932479"/>
              <a:gd name="connsiteY18" fmla="*/ 2087156 h 6924674"/>
              <a:gd name="connsiteX19" fmla="*/ 11238 w 9932479"/>
              <a:gd name="connsiteY19" fmla="*/ 2082429 h 6924674"/>
              <a:gd name="connsiteX20" fmla="*/ 11238 w 9932479"/>
              <a:gd name="connsiteY20" fmla="*/ 0 h 6924674"/>
              <a:gd name="connsiteX0" fmla="*/ 9086659 w 9932479"/>
              <a:gd name="connsiteY0" fmla="*/ 4874676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829175 w 9932479"/>
              <a:gd name="connsiteY10" fmla="*/ 4863688 h 6924674"/>
              <a:gd name="connsiteX11" fmla="*/ 5829175 w 9932479"/>
              <a:gd name="connsiteY11" fmla="*/ 5804668 h 6924674"/>
              <a:gd name="connsiteX12" fmla="*/ 6779785 w 9932479"/>
              <a:gd name="connsiteY12" fmla="*/ 5804668 h 6924674"/>
              <a:gd name="connsiteX13" fmla="*/ 6779786 w 9932479"/>
              <a:gd name="connsiteY13" fmla="*/ 4856466 h 6924674"/>
              <a:gd name="connsiteX14" fmla="*/ 9086659 w 9932479"/>
              <a:gd name="connsiteY14" fmla="*/ 4878176 h 6924674"/>
              <a:gd name="connsiteX15" fmla="*/ 9086659 w 9932479"/>
              <a:gd name="connsiteY15" fmla="*/ 4874676 h 6924674"/>
              <a:gd name="connsiteX16" fmla="*/ 11238 w 9932479"/>
              <a:gd name="connsiteY16" fmla="*/ 0 h 6924674"/>
              <a:gd name="connsiteX17" fmla="*/ 9932479 w 9932479"/>
              <a:gd name="connsiteY17" fmla="*/ 0 h 6924674"/>
              <a:gd name="connsiteX18" fmla="*/ 9932479 w 9932479"/>
              <a:gd name="connsiteY18" fmla="*/ 2087156 h 6924674"/>
              <a:gd name="connsiteX19" fmla="*/ 11238 w 9932479"/>
              <a:gd name="connsiteY19" fmla="*/ 2082429 h 6924674"/>
              <a:gd name="connsiteX20" fmla="*/ 11238 w 9932479"/>
              <a:gd name="connsiteY20"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829175 w 9932479"/>
              <a:gd name="connsiteY10" fmla="*/ 4863688 h 6924674"/>
              <a:gd name="connsiteX11" fmla="*/ 5829175 w 9932479"/>
              <a:gd name="connsiteY11" fmla="*/ 5804668 h 6924674"/>
              <a:gd name="connsiteX12" fmla="*/ 6779785 w 9932479"/>
              <a:gd name="connsiteY12" fmla="*/ 5804668 h 6924674"/>
              <a:gd name="connsiteX13" fmla="*/ 6779786 w 9932479"/>
              <a:gd name="connsiteY13" fmla="*/ 4856466 h 6924674"/>
              <a:gd name="connsiteX14" fmla="*/ 9086659 w 9932479"/>
              <a:gd name="connsiteY14" fmla="*/ 4878176 h 6924674"/>
              <a:gd name="connsiteX15" fmla="*/ 9086659 w 9932479"/>
              <a:gd name="connsiteY15" fmla="*/ 4856585 h 6924674"/>
              <a:gd name="connsiteX16" fmla="*/ 11238 w 9932479"/>
              <a:gd name="connsiteY16" fmla="*/ 0 h 6924674"/>
              <a:gd name="connsiteX17" fmla="*/ 9932479 w 9932479"/>
              <a:gd name="connsiteY17" fmla="*/ 0 h 6924674"/>
              <a:gd name="connsiteX18" fmla="*/ 9932479 w 9932479"/>
              <a:gd name="connsiteY18" fmla="*/ 2087156 h 6924674"/>
              <a:gd name="connsiteX19" fmla="*/ 11238 w 9932479"/>
              <a:gd name="connsiteY19" fmla="*/ 2082429 h 6924674"/>
              <a:gd name="connsiteX20" fmla="*/ 11238 w 9932479"/>
              <a:gd name="connsiteY20"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829175 w 9932479"/>
              <a:gd name="connsiteY10" fmla="*/ 4863688 h 6924674"/>
              <a:gd name="connsiteX11" fmla="*/ 5829175 w 9932479"/>
              <a:gd name="connsiteY11" fmla="*/ 5804668 h 6924674"/>
              <a:gd name="connsiteX12" fmla="*/ 6779785 w 9932479"/>
              <a:gd name="connsiteY12" fmla="*/ 5804668 h 6924674"/>
              <a:gd name="connsiteX13" fmla="*/ 6779786 w 9932479"/>
              <a:gd name="connsiteY13" fmla="*/ 4856466 h 6924674"/>
              <a:gd name="connsiteX14" fmla="*/ 8652325 w 9932479"/>
              <a:gd name="connsiteY14" fmla="*/ 5171257 h 6924674"/>
              <a:gd name="connsiteX15" fmla="*/ 9086659 w 9932479"/>
              <a:gd name="connsiteY15" fmla="*/ 4856585 h 6924674"/>
              <a:gd name="connsiteX16" fmla="*/ 11238 w 9932479"/>
              <a:gd name="connsiteY16" fmla="*/ 0 h 6924674"/>
              <a:gd name="connsiteX17" fmla="*/ 9932479 w 9932479"/>
              <a:gd name="connsiteY17" fmla="*/ 0 h 6924674"/>
              <a:gd name="connsiteX18" fmla="*/ 9932479 w 9932479"/>
              <a:gd name="connsiteY18" fmla="*/ 2087156 h 6924674"/>
              <a:gd name="connsiteX19" fmla="*/ 11238 w 9932479"/>
              <a:gd name="connsiteY19" fmla="*/ 2082429 h 6924674"/>
              <a:gd name="connsiteX20" fmla="*/ 11238 w 9932479"/>
              <a:gd name="connsiteY20"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829175 w 9932479"/>
              <a:gd name="connsiteY10" fmla="*/ 4863688 h 6924674"/>
              <a:gd name="connsiteX11" fmla="*/ 5829175 w 9932479"/>
              <a:gd name="connsiteY11" fmla="*/ 5804668 h 6924674"/>
              <a:gd name="connsiteX12" fmla="*/ 6779785 w 9932479"/>
              <a:gd name="connsiteY12" fmla="*/ 5804668 h 6924674"/>
              <a:gd name="connsiteX13" fmla="*/ 6779786 w 9932479"/>
              <a:gd name="connsiteY13" fmla="*/ 4856466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829175 w 9932479"/>
              <a:gd name="connsiteY10" fmla="*/ 4863688 h 6924674"/>
              <a:gd name="connsiteX11" fmla="*/ 5829175 w 9932479"/>
              <a:gd name="connsiteY11" fmla="*/ 5804668 h 6924674"/>
              <a:gd name="connsiteX12" fmla="*/ 6779786 w 9932479"/>
              <a:gd name="connsiteY12" fmla="*/ 5819141 h 6924674"/>
              <a:gd name="connsiteX13" fmla="*/ 6779786 w 9932479"/>
              <a:gd name="connsiteY13" fmla="*/ 4856466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829175 w 9932479"/>
              <a:gd name="connsiteY10" fmla="*/ 4863688 h 6924674"/>
              <a:gd name="connsiteX11" fmla="*/ 5829175 w 9932479"/>
              <a:gd name="connsiteY11" fmla="*/ 5822759 h 6924674"/>
              <a:gd name="connsiteX12" fmla="*/ 6779786 w 9932479"/>
              <a:gd name="connsiteY12" fmla="*/ 5819141 h 6924674"/>
              <a:gd name="connsiteX13" fmla="*/ 6779786 w 9932479"/>
              <a:gd name="connsiteY13" fmla="*/ 4856466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829175 w 9932479"/>
              <a:gd name="connsiteY10" fmla="*/ 4863688 h 6924674"/>
              <a:gd name="connsiteX11" fmla="*/ 5829175 w 9932479"/>
              <a:gd name="connsiteY11" fmla="*/ 5822759 h 6924674"/>
              <a:gd name="connsiteX12" fmla="*/ 6796591 w 9932479"/>
              <a:gd name="connsiteY12" fmla="*/ 5748587 h 6924674"/>
              <a:gd name="connsiteX13" fmla="*/ 6779786 w 9932479"/>
              <a:gd name="connsiteY13" fmla="*/ 4856466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829175 w 9932479"/>
              <a:gd name="connsiteY10" fmla="*/ 4863688 h 6924674"/>
              <a:gd name="connsiteX11" fmla="*/ 5829175 w 9932479"/>
              <a:gd name="connsiteY11" fmla="*/ 5822759 h 6924674"/>
              <a:gd name="connsiteX12" fmla="*/ 6786508 w 9932479"/>
              <a:gd name="connsiteY12" fmla="*/ 5829220 h 6924674"/>
              <a:gd name="connsiteX13" fmla="*/ 6779786 w 9932479"/>
              <a:gd name="connsiteY13" fmla="*/ 4856466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829175 w 9932479"/>
              <a:gd name="connsiteY10" fmla="*/ 4863688 h 6924674"/>
              <a:gd name="connsiteX11" fmla="*/ 5829175 w 9932479"/>
              <a:gd name="connsiteY11" fmla="*/ 5822759 h 6924674"/>
              <a:gd name="connsiteX12" fmla="*/ 6786509 w 9932479"/>
              <a:gd name="connsiteY12" fmla="*/ 5825860 h 6924674"/>
              <a:gd name="connsiteX13" fmla="*/ 6779786 w 9932479"/>
              <a:gd name="connsiteY13" fmla="*/ 4856466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829175 w 9932479"/>
              <a:gd name="connsiteY10" fmla="*/ 4863688 h 6924674"/>
              <a:gd name="connsiteX11" fmla="*/ 5829175 w 9932479"/>
              <a:gd name="connsiteY11" fmla="*/ 5822759 h 6924674"/>
              <a:gd name="connsiteX12" fmla="*/ 6786510 w 9932479"/>
              <a:gd name="connsiteY12" fmla="*/ 5815781 h 6924674"/>
              <a:gd name="connsiteX13" fmla="*/ 6779786 w 9932479"/>
              <a:gd name="connsiteY13" fmla="*/ 4856466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829175 w 9932479"/>
              <a:gd name="connsiteY10" fmla="*/ 4863688 h 6924674"/>
              <a:gd name="connsiteX11" fmla="*/ 5829175 w 9932479"/>
              <a:gd name="connsiteY11" fmla="*/ 5822759 h 6924674"/>
              <a:gd name="connsiteX12" fmla="*/ 6789872 w 9932479"/>
              <a:gd name="connsiteY12" fmla="*/ 5889695 h 6924674"/>
              <a:gd name="connsiteX13" fmla="*/ 6779786 w 9932479"/>
              <a:gd name="connsiteY13" fmla="*/ 4856466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829175 w 9932479"/>
              <a:gd name="connsiteY10" fmla="*/ 4863688 h 6924674"/>
              <a:gd name="connsiteX11" fmla="*/ 5829175 w 9932479"/>
              <a:gd name="connsiteY11" fmla="*/ 5822759 h 6924674"/>
              <a:gd name="connsiteX12" fmla="*/ 6789873 w 9932479"/>
              <a:gd name="connsiteY12" fmla="*/ 5832580 h 6924674"/>
              <a:gd name="connsiteX13" fmla="*/ 6779786 w 9932479"/>
              <a:gd name="connsiteY13" fmla="*/ 4856466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829175 w 9932479"/>
              <a:gd name="connsiteY10" fmla="*/ 4863688 h 6924674"/>
              <a:gd name="connsiteX11" fmla="*/ 5829175 w 9932479"/>
              <a:gd name="connsiteY11" fmla="*/ 5822759 h 6924674"/>
              <a:gd name="connsiteX12" fmla="*/ 6789874 w 9932479"/>
              <a:gd name="connsiteY12" fmla="*/ 5822500 h 6924674"/>
              <a:gd name="connsiteX13" fmla="*/ 6779786 w 9932479"/>
              <a:gd name="connsiteY13" fmla="*/ 4856466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907153 w 9932479"/>
              <a:gd name="connsiteY10" fmla="*/ 4866937 h 6924674"/>
              <a:gd name="connsiteX11" fmla="*/ 5829175 w 9932479"/>
              <a:gd name="connsiteY11" fmla="*/ 5822759 h 6924674"/>
              <a:gd name="connsiteX12" fmla="*/ 6789874 w 9932479"/>
              <a:gd name="connsiteY12" fmla="*/ 5822500 h 6924674"/>
              <a:gd name="connsiteX13" fmla="*/ 6779786 w 9932479"/>
              <a:gd name="connsiteY13" fmla="*/ 4856466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907153 w 9932479"/>
              <a:gd name="connsiteY10" fmla="*/ 4866937 h 6924674"/>
              <a:gd name="connsiteX11" fmla="*/ 5907153 w 9932479"/>
              <a:gd name="connsiteY11" fmla="*/ 5819511 h 6924674"/>
              <a:gd name="connsiteX12" fmla="*/ 6789874 w 9932479"/>
              <a:gd name="connsiteY12" fmla="*/ 5822500 h 6924674"/>
              <a:gd name="connsiteX13" fmla="*/ 6779786 w 9932479"/>
              <a:gd name="connsiteY13" fmla="*/ 4856466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907153 w 9932479"/>
              <a:gd name="connsiteY10" fmla="*/ 4866937 h 6924674"/>
              <a:gd name="connsiteX11" fmla="*/ 5907153 w 9932479"/>
              <a:gd name="connsiteY11" fmla="*/ 5819511 h 6924674"/>
              <a:gd name="connsiteX12" fmla="*/ 6789874 w 9932479"/>
              <a:gd name="connsiteY12" fmla="*/ 5822500 h 6924674"/>
              <a:gd name="connsiteX13" fmla="*/ 6844768 w 9932479"/>
              <a:gd name="connsiteY13" fmla="*/ 4853218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907153 w 9932479"/>
              <a:gd name="connsiteY10" fmla="*/ 4866937 h 6924674"/>
              <a:gd name="connsiteX11" fmla="*/ 5907153 w 9932479"/>
              <a:gd name="connsiteY11" fmla="*/ 5819511 h 6924674"/>
              <a:gd name="connsiteX12" fmla="*/ 7926592 w 9932479"/>
              <a:gd name="connsiteY12" fmla="*/ 5798195 h 6924674"/>
              <a:gd name="connsiteX13" fmla="*/ 6844768 w 9932479"/>
              <a:gd name="connsiteY13" fmla="*/ 4853218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907153 w 9932479"/>
              <a:gd name="connsiteY10" fmla="*/ 4866937 h 6924674"/>
              <a:gd name="connsiteX11" fmla="*/ 5907153 w 9932479"/>
              <a:gd name="connsiteY11" fmla="*/ 5819511 h 6924674"/>
              <a:gd name="connsiteX12" fmla="*/ 7926592 w 9932479"/>
              <a:gd name="connsiteY12" fmla="*/ 5798195 h 6924674"/>
              <a:gd name="connsiteX13" fmla="*/ 7774810 w 9932479"/>
              <a:gd name="connsiteY13" fmla="*/ 4853218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907153 w 9932479"/>
              <a:gd name="connsiteY10" fmla="*/ 4866937 h 6924674"/>
              <a:gd name="connsiteX11" fmla="*/ 5907153 w 9932479"/>
              <a:gd name="connsiteY11" fmla="*/ 5819511 h 6924674"/>
              <a:gd name="connsiteX12" fmla="*/ 7786782 w 9932479"/>
              <a:gd name="connsiteY12" fmla="*/ 5865035 h 6924674"/>
              <a:gd name="connsiteX13" fmla="*/ 7774810 w 9932479"/>
              <a:gd name="connsiteY13" fmla="*/ 4853218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907153 w 9932479"/>
              <a:gd name="connsiteY10" fmla="*/ 4866937 h 6924674"/>
              <a:gd name="connsiteX11" fmla="*/ 5907153 w 9932479"/>
              <a:gd name="connsiteY11" fmla="*/ 5819511 h 6924674"/>
              <a:gd name="connsiteX12" fmla="*/ 7786782 w 9932479"/>
              <a:gd name="connsiteY12" fmla="*/ 5828576 h 6924674"/>
              <a:gd name="connsiteX13" fmla="*/ 7774810 w 9932479"/>
              <a:gd name="connsiteY13" fmla="*/ 4853218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907153 w 9932479"/>
              <a:gd name="connsiteY10" fmla="*/ 4866937 h 6924674"/>
              <a:gd name="connsiteX11" fmla="*/ 5907153 w 9932479"/>
              <a:gd name="connsiteY11" fmla="*/ 5819511 h 6924674"/>
              <a:gd name="connsiteX12" fmla="*/ 7902277 w 9932479"/>
              <a:gd name="connsiteY12" fmla="*/ 5828576 h 6924674"/>
              <a:gd name="connsiteX13" fmla="*/ 7774810 w 9932479"/>
              <a:gd name="connsiteY13" fmla="*/ 4853218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907153 w 9932479"/>
              <a:gd name="connsiteY10" fmla="*/ 4866937 h 6924674"/>
              <a:gd name="connsiteX11" fmla="*/ 5907153 w 9932479"/>
              <a:gd name="connsiteY11" fmla="*/ 5819511 h 6924674"/>
              <a:gd name="connsiteX12" fmla="*/ 7774624 w 9932479"/>
              <a:gd name="connsiteY12" fmla="*/ 5828576 h 6924674"/>
              <a:gd name="connsiteX13" fmla="*/ 7774810 w 9932479"/>
              <a:gd name="connsiteY13" fmla="*/ 4853218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5907153 w 9932479"/>
              <a:gd name="connsiteY10" fmla="*/ 4866937 h 6924674"/>
              <a:gd name="connsiteX11" fmla="*/ 6867587 w 9932479"/>
              <a:gd name="connsiteY11" fmla="*/ 5825587 h 6924674"/>
              <a:gd name="connsiteX12" fmla="*/ 7774624 w 9932479"/>
              <a:gd name="connsiteY12" fmla="*/ 5828576 h 6924674"/>
              <a:gd name="connsiteX13" fmla="*/ 7774810 w 9932479"/>
              <a:gd name="connsiteY13" fmla="*/ 4853218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6837194 w 9932479"/>
              <a:gd name="connsiteY10" fmla="*/ 4860861 h 6924674"/>
              <a:gd name="connsiteX11" fmla="*/ 6867587 w 9932479"/>
              <a:gd name="connsiteY11" fmla="*/ 5825587 h 6924674"/>
              <a:gd name="connsiteX12" fmla="*/ 7774624 w 9932479"/>
              <a:gd name="connsiteY12" fmla="*/ 5828576 h 6924674"/>
              <a:gd name="connsiteX13" fmla="*/ 7774810 w 9932479"/>
              <a:gd name="connsiteY13" fmla="*/ 4853218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6837194 w 9932479"/>
              <a:gd name="connsiteY10" fmla="*/ 4860861 h 6924674"/>
              <a:gd name="connsiteX11" fmla="*/ 6843273 w 9932479"/>
              <a:gd name="connsiteY11" fmla="*/ 5825587 h 6924674"/>
              <a:gd name="connsiteX12" fmla="*/ 7774624 w 9932479"/>
              <a:gd name="connsiteY12" fmla="*/ 5828576 h 6924674"/>
              <a:gd name="connsiteX13" fmla="*/ 7774810 w 9932479"/>
              <a:gd name="connsiteY13" fmla="*/ 4853218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6837194 w 9932479"/>
              <a:gd name="connsiteY10" fmla="*/ 4860861 h 6924674"/>
              <a:gd name="connsiteX11" fmla="*/ 6831115 w 9932479"/>
              <a:gd name="connsiteY11" fmla="*/ 5825587 h 6924674"/>
              <a:gd name="connsiteX12" fmla="*/ 7774624 w 9932479"/>
              <a:gd name="connsiteY12" fmla="*/ 5828576 h 6924674"/>
              <a:gd name="connsiteX13" fmla="*/ 7774810 w 9932479"/>
              <a:gd name="connsiteY13" fmla="*/ 4853218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6837194 w 9932479"/>
              <a:gd name="connsiteY10" fmla="*/ 4860861 h 6924674"/>
              <a:gd name="connsiteX11" fmla="*/ 6831115 w 9932479"/>
              <a:gd name="connsiteY11" fmla="*/ 5825587 h 6924674"/>
              <a:gd name="connsiteX12" fmla="*/ 7774624 w 9932479"/>
              <a:gd name="connsiteY12" fmla="*/ 5792117 h 6924674"/>
              <a:gd name="connsiteX13" fmla="*/ 7774810 w 9932479"/>
              <a:gd name="connsiteY13" fmla="*/ 4853218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6837194 w 9932479"/>
              <a:gd name="connsiteY10" fmla="*/ 4860861 h 6924674"/>
              <a:gd name="connsiteX11" fmla="*/ 6831115 w 9932479"/>
              <a:gd name="connsiteY11" fmla="*/ 5801281 h 6924674"/>
              <a:gd name="connsiteX12" fmla="*/ 7774624 w 9932479"/>
              <a:gd name="connsiteY12" fmla="*/ 5792117 h 6924674"/>
              <a:gd name="connsiteX13" fmla="*/ 7774810 w 9932479"/>
              <a:gd name="connsiteY13" fmla="*/ 4853218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6837194 w 9932479"/>
              <a:gd name="connsiteY10" fmla="*/ 4860861 h 6924674"/>
              <a:gd name="connsiteX11" fmla="*/ 6831115 w 9932479"/>
              <a:gd name="connsiteY11" fmla="*/ 5792210 h 6924674"/>
              <a:gd name="connsiteX12" fmla="*/ 7774624 w 9932479"/>
              <a:gd name="connsiteY12" fmla="*/ 5792117 h 6924674"/>
              <a:gd name="connsiteX13" fmla="*/ 7774810 w 9932479"/>
              <a:gd name="connsiteY13" fmla="*/ 4853218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6837194 w 9932479"/>
              <a:gd name="connsiteY10" fmla="*/ 4860861 h 6924674"/>
              <a:gd name="connsiteX11" fmla="*/ 6835653 w 9932479"/>
              <a:gd name="connsiteY11" fmla="*/ 5792210 h 6924674"/>
              <a:gd name="connsiteX12" fmla="*/ 7774624 w 9932479"/>
              <a:gd name="connsiteY12" fmla="*/ 5792117 h 6924674"/>
              <a:gd name="connsiteX13" fmla="*/ 7774810 w 9932479"/>
              <a:gd name="connsiteY13" fmla="*/ 4853218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6837194 w 9932479"/>
              <a:gd name="connsiteY10" fmla="*/ 4860861 h 6924674"/>
              <a:gd name="connsiteX11" fmla="*/ 6843929 w 9932479"/>
              <a:gd name="connsiteY11" fmla="*/ 5792210 h 6924674"/>
              <a:gd name="connsiteX12" fmla="*/ 7774624 w 9932479"/>
              <a:gd name="connsiteY12" fmla="*/ 5792117 h 6924674"/>
              <a:gd name="connsiteX13" fmla="*/ 7774810 w 9932479"/>
              <a:gd name="connsiteY13" fmla="*/ 4853218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6845471 w 9932479"/>
              <a:gd name="connsiteY10" fmla="*/ 4860861 h 6924674"/>
              <a:gd name="connsiteX11" fmla="*/ 6843929 w 9932479"/>
              <a:gd name="connsiteY11" fmla="*/ 5792210 h 6924674"/>
              <a:gd name="connsiteX12" fmla="*/ 7774624 w 9932479"/>
              <a:gd name="connsiteY12" fmla="*/ 5792117 h 6924674"/>
              <a:gd name="connsiteX13" fmla="*/ 7774810 w 9932479"/>
              <a:gd name="connsiteY13" fmla="*/ 4853218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638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6845471 w 9932479"/>
              <a:gd name="connsiteY10" fmla="*/ 4860861 h 6924674"/>
              <a:gd name="connsiteX11" fmla="*/ 6843929 w 9932479"/>
              <a:gd name="connsiteY11" fmla="*/ 5792210 h 6924674"/>
              <a:gd name="connsiteX12" fmla="*/ 7774624 w 9932479"/>
              <a:gd name="connsiteY12" fmla="*/ 5792117 h 6924674"/>
              <a:gd name="connsiteX13" fmla="*/ 7774811 w 9932479"/>
              <a:gd name="connsiteY13" fmla="*/ 4865918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9086659 w 9932479"/>
              <a:gd name="connsiteY0" fmla="*/ 4856585 h 6924674"/>
              <a:gd name="connsiteX1" fmla="*/ 9932479 w 9932479"/>
              <a:gd name="connsiteY1" fmla="*/ 4879696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6845471 w 9932479"/>
              <a:gd name="connsiteY10" fmla="*/ 4860861 h 6924674"/>
              <a:gd name="connsiteX11" fmla="*/ 6843929 w 9932479"/>
              <a:gd name="connsiteY11" fmla="*/ 5792210 h 6924674"/>
              <a:gd name="connsiteX12" fmla="*/ 7774624 w 9932479"/>
              <a:gd name="connsiteY12" fmla="*/ 5792117 h 6924674"/>
              <a:gd name="connsiteX13" fmla="*/ 7774811 w 9932479"/>
              <a:gd name="connsiteY13" fmla="*/ 4865918 h 6924674"/>
              <a:gd name="connsiteX14" fmla="*/ 9086659 w 9932479"/>
              <a:gd name="connsiteY14" fmla="*/ 4856585 h 6924674"/>
              <a:gd name="connsiteX15" fmla="*/ 11238 w 9932479"/>
              <a:gd name="connsiteY15" fmla="*/ 0 h 6924674"/>
              <a:gd name="connsiteX16" fmla="*/ 9932479 w 9932479"/>
              <a:gd name="connsiteY16" fmla="*/ 0 h 6924674"/>
              <a:gd name="connsiteX17" fmla="*/ 9932479 w 9932479"/>
              <a:gd name="connsiteY17" fmla="*/ 2087156 h 6924674"/>
              <a:gd name="connsiteX18" fmla="*/ 11238 w 9932479"/>
              <a:gd name="connsiteY18" fmla="*/ 2082429 h 6924674"/>
              <a:gd name="connsiteX19" fmla="*/ 11238 w 9932479"/>
              <a:gd name="connsiteY19" fmla="*/ 0 h 6924674"/>
              <a:gd name="connsiteX0" fmla="*/ 7774811 w 9932479"/>
              <a:gd name="connsiteY0" fmla="*/ 4865918 h 6924674"/>
              <a:gd name="connsiteX1" fmla="*/ 9932479 w 9932479"/>
              <a:gd name="connsiteY1" fmla="*/ 4879696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6845471 w 9932479"/>
              <a:gd name="connsiteY10" fmla="*/ 4860861 h 6924674"/>
              <a:gd name="connsiteX11" fmla="*/ 6843929 w 9932479"/>
              <a:gd name="connsiteY11" fmla="*/ 5792210 h 6924674"/>
              <a:gd name="connsiteX12" fmla="*/ 7774624 w 9932479"/>
              <a:gd name="connsiteY12" fmla="*/ 5792117 h 6924674"/>
              <a:gd name="connsiteX13" fmla="*/ 7774811 w 9932479"/>
              <a:gd name="connsiteY13" fmla="*/ 4865918 h 6924674"/>
              <a:gd name="connsiteX14" fmla="*/ 11238 w 9932479"/>
              <a:gd name="connsiteY14" fmla="*/ 0 h 6924674"/>
              <a:gd name="connsiteX15" fmla="*/ 9932479 w 9932479"/>
              <a:gd name="connsiteY15" fmla="*/ 0 h 6924674"/>
              <a:gd name="connsiteX16" fmla="*/ 9932479 w 9932479"/>
              <a:gd name="connsiteY16" fmla="*/ 2087156 h 6924674"/>
              <a:gd name="connsiteX17" fmla="*/ 11238 w 9932479"/>
              <a:gd name="connsiteY17" fmla="*/ 2082429 h 6924674"/>
              <a:gd name="connsiteX18" fmla="*/ 11238 w 9932479"/>
              <a:gd name="connsiteY18" fmla="*/ 0 h 6924674"/>
              <a:gd name="connsiteX0" fmla="*/ 7774811 w 9932479"/>
              <a:gd name="connsiteY0" fmla="*/ 4865918 h 6924674"/>
              <a:gd name="connsiteX1" fmla="*/ 9932479 w 9932479"/>
              <a:gd name="connsiteY1" fmla="*/ 487017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6845471 w 9932479"/>
              <a:gd name="connsiteY10" fmla="*/ 4860861 h 6924674"/>
              <a:gd name="connsiteX11" fmla="*/ 6843929 w 9932479"/>
              <a:gd name="connsiteY11" fmla="*/ 5792210 h 6924674"/>
              <a:gd name="connsiteX12" fmla="*/ 7774624 w 9932479"/>
              <a:gd name="connsiteY12" fmla="*/ 5792117 h 6924674"/>
              <a:gd name="connsiteX13" fmla="*/ 7774811 w 9932479"/>
              <a:gd name="connsiteY13" fmla="*/ 4865918 h 6924674"/>
              <a:gd name="connsiteX14" fmla="*/ 11238 w 9932479"/>
              <a:gd name="connsiteY14" fmla="*/ 0 h 6924674"/>
              <a:gd name="connsiteX15" fmla="*/ 9932479 w 9932479"/>
              <a:gd name="connsiteY15" fmla="*/ 0 h 6924674"/>
              <a:gd name="connsiteX16" fmla="*/ 9932479 w 9932479"/>
              <a:gd name="connsiteY16" fmla="*/ 2087156 h 6924674"/>
              <a:gd name="connsiteX17" fmla="*/ 11238 w 9932479"/>
              <a:gd name="connsiteY17" fmla="*/ 2082429 h 6924674"/>
              <a:gd name="connsiteX18" fmla="*/ 11238 w 9932479"/>
              <a:gd name="connsiteY18" fmla="*/ 0 h 6924674"/>
              <a:gd name="connsiteX0" fmla="*/ 7774811 w 9932479"/>
              <a:gd name="connsiteY0" fmla="*/ 4865918 h 6924674"/>
              <a:gd name="connsiteX1" fmla="*/ 9929303 w 9932479"/>
              <a:gd name="connsiteY1" fmla="*/ 4787621 h 6924674"/>
              <a:gd name="connsiteX2" fmla="*/ 9932479 w 9932479"/>
              <a:gd name="connsiteY2" fmla="*/ 6924674 h 6924674"/>
              <a:gd name="connsiteX3" fmla="*/ 9924858 w 9932479"/>
              <a:gd name="connsiteY3" fmla="*/ 6924674 h 6924674"/>
              <a:gd name="connsiteX4" fmla="*/ 9086659 w 9932479"/>
              <a:gd name="connsiteY4" fmla="*/ 6924674 h 6924674"/>
              <a:gd name="connsiteX5" fmla="*/ 6779785 w 9932479"/>
              <a:gd name="connsiteY5" fmla="*/ 6924674 h 6924674"/>
              <a:gd name="connsiteX6" fmla="*/ 5829175 w 9932479"/>
              <a:gd name="connsiteY6" fmla="*/ 6924674 h 6924674"/>
              <a:gd name="connsiteX7" fmla="*/ 5829174 w 9932479"/>
              <a:gd name="connsiteY7" fmla="*/ 6924674 h 6924674"/>
              <a:gd name="connsiteX8" fmla="*/ 3619 w 9932479"/>
              <a:gd name="connsiteY8" fmla="*/ 6924674 h 6924674"/>
              <a:gd name="connsiteX9" fmla="*/ 0 w 9932479"/>
              <a:gd name="connsiteY9" fmla="*/ 4860070 h 6924674"/>
              <a:gd name="connsiteX10" fmla="*/ 6845471 w 9932479"/>
              <a:gd name="connsiteY10" fmla="*/ 4860861 h 6924674"/>
              <a:gd name="connsiteX11" fmla="*/ 6843929 w 9932479"/>
              <a:gd name="connsiteY11" fmla="*/ 5792210 h 6924674"/>
              <a:gd name="connsiteX12" fmla="*/ 7774624 w 9932479"/>
              <a:gd name="connsiteY12" fmla="*/ 5792117 h 6924674"/>
              <a:gd name="connsiteX13" fmla="*/ 7774811 w 9932479"/>
              <a:gd name="connsiteY13" fmla="*/ 4865918 h 6924674"/>
              <a:gd name="connsiteX14" fmla="*/ 11238 w 9932479"/>
              <a:gd name="connsiteY14" fmla="*/ 0 h 6924674"/>
              <a:gd name="connsiteX15" fmla="*/ 9932479 w 9932479"/>
              <a:gd name="connsiteY15" fmla="*/ 0 h 6924674"/>
              <a:gd name="connsiteX16" fmla="*/ 9932479 w 9932479"/>
              <a:gd name="connsiteY16" fmla="*/ 2087156 h 6924674"/>
              <a:gd name="connsiteX17" fmla="*/ 11238 w 9932479"/>
              <a:gd name="connsiteY17" fmla="*/ 2082429 h 6924674"/>
              <a:gd name="connsiteX18" fmla="*/ 11238 w 9932479"/>
              <a:gd name="connsiteY18" fmla="*/ 0 h 6924674"/>
              <a:gd name="connsiteX0" fmla="*/ 7774811 w 9942075"/>
              <a:gd name="connsiteY0" fmla="*/ 4865918 h 6924674"/>
              <a:gd name="connsiteX1" fmla="*/ 9942007 w 9942075"/>
              <a:gd name="connsiteY1" fmla="*/ 487334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5471 w 9942075"/>
              <a:gd name="connsiteY10" fmla="*/ 4860861 h 6924674"/>
              <a:gd name="connsiteX11" fmla="*/ 6843929 w 9942075"/>
              <a:gd name="connsiteY11" fmla="*/ 5792210 h 6924674"/>
              <a:gd name="connsiteX12" fmla="*/ 7774624 w 9942075"/>
              <a:gd name="connsiteY12" fmla="*/ 5792117 h 6924674"/>
              <a:gd name="connsiteX13" fmla="*/ 7774811 w 9942075"/>
              <a:gd name="connsiteY13" fmla="*/ 4865918 h 6924674"/>
              <a:gd name="connsiteX14" fmla="*/ 11238 w 9942075"/>
              <a:gd name="connsiteY14" fmla="*/ 0 h 6924674"/>
              <a:gd name="connsiteX15" fmla="*/ 9932479 w 9942075"/>
              <a:gd name="connsiteY15" fmla="*/ 0 h 6924674"/>
              <a:gd name="connsiteX16" fmla="*/ 9932479 w 9942075"/>
              <a:gd name="connsiteY16" fmla="*/ 2087156 h 6924674"/>
              <a:gd name="connsiteX17" fmla="*/ 11238 w 9942075"/>
              <a:gd name="connsiteY17" fmla="*/ 2082429 h 6924674"/>
              <a:gd name="connsiteX18" fmla="*/ 11238 w 9942075"/>
              <a:gd name="connsiteY18" fmla="*/ 0 h 6924674"/>
              <a:gd name="connsiteX0" fmla="*/ 7774811 w 9942075"/>
              <a:gd name="connsiteY0" fmla="*/ 4865918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5471 w 9942075"/>
              <a:gd name="connsiteY10" fmla="*/ 4860861 h 6924674"/>
              <a:gd name="connsiteX11" fmla="*/ 6843929 w 9942075"/>
              <a:gd name="connsiteY11" fmla="*/ 5792210 h 6924674"/>
              <a:gd name="connsiteX12" fmla="*/ 7774624 w 9942075"/>
              <a:gd name="connsiteY12" fmla="*/ 5792117 h 6924674"/>
              <a:gd name="connsiteX13" fmla="*/ 7774811 w 9942075"/>
              <a:gd name="connsiteY13" fmla="*/ 4865918 h 6924674"/>
              <a:gd name="connsiteX14" fmla="*/ 11238 w 9942075"/>
              <a:gd name="connsiteY14" fmla="*/ 0 h 6924674"/>
              <a:gd name="connsiteX15" fmla="*/ 9932479 w 9942075"/>
              <a:gd name="connsiteY15" fmla="*/ 0 h 6924674"/>
              <a:gd name="connsiteX16" fmla="*/ 9932479 w 9942075"/>
              <a:gd name="connsiteY16" fmla="*/ 2087156 h 6924674"/>
              <a:gd name="connsiteX17" fmla="*/ 11238 w 9942075"/>
              <a:gd name="connsiteY17" fmla="*/ 2082429 h 6924674"/>
              <a:gd name="connsiteX18" fmla="*/ 11238 w 9942075"/>
              <a:gd name="connsiteY18" fmla="*/ 0 h 6924674"/>
              <a:gd name="connsiteX0" fmla="*/ 7774811 w 9942075"/>
              <a:gd name="connsiteY0" fmla="*/ 4865918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07359 w 9942075"/>
              <a:gd name="connsiteY10" fmla="*/ 4860861 h 6924674"/>
              <a:gd name="connsiteX11" fmla="*/ 6843929 w 9942075"/>
              <a:gd name="connsiteY11" fmla="*/ 5792210 h 6924674"/>
              <a:gd name="connsiteX12" fmla="*/ 7774624 w 9942075"/>
              <a:gd name="connsiteY12" fmla="*/ 5792117 h 6924674"/>
              <a:gd name="connsiteX13" fmla="*/ 7774811 w 9942075"/>
              <a:gd name="connsiteY13" fmla="*/ 4865918 h 6924674"/>
              <a:gd name="connsiteX14" fmla="*/ 11238 w 9942075"/>
              <a:gd name="connsiteY14" fmla="*/ 0 h 6924674"/>
              <a:gd name="connsiteX15" fmla="*/ 9932479 w 9942075"/>
              <a:gd name="connsiteY15" fmla="*/ 0 h 6924674"/>
              <a:gd name="connsiteX16" fmla="*/ 9932479 w 9942075"/>
              <a:gd name="connsiteY16" fmla="*/ 2087156 h 6924674"/>
              <a:gd name="connsiteX17" fmla="*/ 11238 w 9942075"/>
              <a:gd name="connsiteY17" fmla="*/ 2082429 h 6924674"/>
              <a:gd name="connsiteX18" fmla="*/ 11238 w 9942075"/>
              <a:gd name="connsiteY18" fmla="*/ 0 h 6924674"/>
              <a:gd name="connsiteX0" fmla="*/ 7774811 w 9942075"/>
              <a:gd name="connsiteY0" fmla="*/ 4865918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3929 w 9942075"/>
              <a:gd name="connsiteY11" fmla="*/ 5792210 h 6924674"/>
              <a:gd name="connsiteX12" fmla="*/ 7774624 w 9942075"/>
              <a:gd name="connsiteY12" fmla="*/ 5792117 h 6924674"/>
              <a:gd name="connsiteX13" fmla="*/ 7774811 w 9942075"/>
              <a:gd name="connsiteY13" fmla="*/ 4865918 h 6924674"/>
              <a:gd name="connsiteX14" fmla="*/ 11238 w 9942075"/>
              <a:gd name="connsiteY14" fmla="*/ 0 h 6924674"/>
              <a:gd name="connsiteX15" fmla="*/ 9932479 w 9942075"/>
              <a:gd name="connsiteY15" fmla="*/ 0 h 6924674"/>
              <a:gd name="connsiteX16" fmla="*/ 9932479 w 9942075"/>
              <a:gd name="connsiteY16" fmla="*/ 2087156 h 6924674"/>
              <a:gd name="connsiteX17" fmla="*/ 11238 w 9942075"/>
              <a:gd name="connsiteY17" fmla="*/ 2082429 h 6924674"/>
              <a:gd name="connsiteX18" fmla="*/ 11238 w 9942075"/>
              <a:gd name="connsiteY18" fmla="*/ 0 h 6924674"/>
              <a:gd name="connsiteX0" fmla="*/ 7774811 w 9942075"/>
              <a:gd name="connsiteY0" fmla="*/ 4865918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764529 w 9942075"/>
              <a:gd name="connsiteY11" fmla="*/ 5792210 h 6924674"/>
              <a:gd name="connsiteX12" fmla="*/ 7774624 w 9942075"/>
              <a:gd name="connsiteY12" fmla="*/ 5792117 h 6924674"/>
              <a:gd name="connsiteX13" fmla="*/ 7774811 w 9942075"/>
              <a:gd name="connsiteY13" fmla="*/ 4865918 h 6924674"/>
              <a:gd name="connsiteX14" fmla="*/ 11238 w 9942075"/>
              <a:gd name="connsiteY14" fmla="*/ 0 h 6924674"/>
              <a:gd name="connsiteX15" fmla="*/ 9932479 w 9942075"/>
              <a:gd name="connsiteY15" fmla="*/ 0 h 6924674"/>
              <a:gd name="connsiteX16" fmla="*/ 9932479 w 9942075"/>
              <a:gd name="connsiteY16" fmla="*/ 2087156 h 6924674"/>
              <a:gd name="connsiteX17" fmla="*/ 11238 w 9942075"/>
              <a:gd name="connsiteY17" fmla="*/ 2082429 h 6924674"/>
              <a:gd name="connsiteX18" fmla="*/ 11238 w 9942075"/>
              <a:gd name="connsiteY18" fmla="*/ 0 h 6924674"/>
              <a:gd name="connsiteX0" fmla="*/ 7774811 w 9942075"/>
              <a:gd name="connsiteY0" fmla="*/ 4865918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0754 w 9942075"/>
              <a:gd name="connsiteY11" fmla="*/ 5795385 h 6924674"/>
              <a:gd name="connsiteX12" fmla="*/ 7774624 w 9942075"/>
              <a:gd name="connsiteY12" fmla="*/ 5792117 h 6924674"/>
              <a:gd name="connsiteX13" fmla="*/ 7774811 w 9942075"/>
              <a:gd name="connsiteY13" fmla="*/ 4865918 h 6924674"/>
              <a:gd name="connsiteX14" fmla="*/ 11238 w 9942075"/>
              <a:gd name="connsiteY14" fmla="*/ 0 h 6924674"/>
              <a:gd name="connsiteX15" fmla="*/ 9932479 w 9942075"/>
              <a:gd name="connsiteY15" fmla="*/ 0 h 6924674"/>
              <a:gd name="connsiteX16" fmla="*/ 9932479 w 9942075"/>
              <a:gd name="connsiteY16" fmla="*/ 2087156 h 6924674"/>
              <a:gd name="connsiteX17" fmla="*/ 11238 w 9942075"/>
              <a:gd name="connsiteY17" fmla="*/ 2082429 h 6924674"/>
              <a:gd name="connsiteX18" fmla="*/ 11238 w 9942075"/>
              <a:gd name="connsiteY18" fmla="*/ 0 h 6924674"/>
              <a:gd name="connsiteX0" fmla="*/ 7774811 w 9942075"/>
              <a:gd name="connsiteY0" fmla="*/ 4865918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0754 w 9942075"/>
              <a:gd name="connsiteY11" fmla="*/ 5795385 h 6924674"/>
              <a:gd name="connsiteX12" fmla="*/ 7774624 w 9942075"/>
              <a:gd name="connsiteY12" fmla="*/ 5792117 h 6924674"/>
              <a:gd name="connsiteX13" fmla="*/ 7774811 w 9942075"/>
              <a:gd name="connsiteY13" fmla="*/ 4865918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82429 h 6924674"/>
              <a:gd name="connsiteX18" fmla="*/ 11238 w 9942075"/>
              <a:gd name="connsiteY18" fmla="*/ 0 h 6924674"/>
              <a:gd name="connsiteX0" fmla="*/ 7774811 w 9942075"/>
              <a:gd name="connsiteY0" fmla="*/ 4865918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0754 w 9942075"/>
              <a:gd name="connsiteY11" fmla="*/ 5795385 h 6924674"/>
              <a:gd name="connsiteX12" fmla="*/ 7774624 w 9942075"/>
              <a:gd name="connsiteY12" fmla="*/ 5792117 h 6924674"/>
              <a:gd name="connsiteX13" fmla="*/ 7774811 w 9942075"/>
              <a:gd name="connsiteY13" fmla="*/ 4865918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4811 w 9942075"/>
              <a:gd name="connsiteY0" fmla="*/ 4865918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0754 w 9942075"/>
              <a:gd name="connsiteY11" fmla="*/ 5795385 h 6924674"/>
              <a:gd name="connsiteX12" fmla="*/ 7774624 w 9942075"/>
              <a:gd name="connsiteY12" fmla="*/ 5804817 h 6924674"/>
              <a:gd name="connsiteX13" fmla="*/ 7774811 w 9942075"/>
              <a:gd name="connsiteY13" fmla="*/ 4865918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4811 w 9942075"/>
              <a:gd name="connsiteY0" fmla="*/ 4865918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0754 w 9942075"/>
              <a:gd name="connsiteY11" fmla="*/ 5804910 h 6924674"/>
              <a:gd name="connsiteX12" fmla="*/ 7774624 w 9942075"/>
              <a:gd name="connsiteY12" fmla="*/ 5804817 h 6924674"/>
              <a:gd name="connsiteX13" fmla="*/ 7774811 w 9942075"/>
              <a:gd name="connsiteY13" fmla="*/ 4865918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4811 w 9942075"/>
              <a:gd name="connsiteY0" fmla="*/ 4865918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0754 w 9942075"/>
              <a:gd name="connsiteY11" fmla="*/ 5804910 h 6924674"/>
              <a:gd name="connsiteX12" fmla="*/ 7774624 w 9942075"/>
              <a:gd name="connsiteY12" fmla="*/ 5795292 h 6924674"/>
              <a:gd name="connsiteX13" fmla="*/ 7774811 w 9942075"/>
              <a:gd name="connsiteY13" fmla="*/ 4865918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4811 w 9942075"/>
              <a:gd name="connsiteY0" fmla="*/ 4865918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0754 w 9942075"/>
              <a:gd name="connsiteY11" fmla="*/ 5798560 h 6924674"/>
              <a:gd name="connsiteX12" fmla="*/ 7774624 w 9942075"/>
              <a:gd name="connsiteY12" fmla="*/ 5795292 h 6924674"/>
              <a:gd name="connsiteX13" fmla="*/ 7774811 w 9942075"/>
              <a:gd name="connsiteY13" fmla="*/ 4865918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4811 w 9942075"/>
              <a:gd name="connsiteY0" fmla="*/ 4865918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0754 w 9942075"/>
              <a:gd name="connsiteY11" fmla="*/ 5798560 h 6924674"/>
              <a:gd name="connsiteX12" fmla="*/ 7774624 w 9942075"/>
              <a:gd name="connsiteY12" fmla="*/ 5760367 h 6924674"/>
              <a:gd name="connsiteX13" fmla="*/ 7774811 w 9942075"/>
              <a:gd name="connsiteY13" fmla="*/ 4865918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4811 w 9942075"/>
              <a:gd name="connsiteY0" fmla="*/ 4865918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0754 w 9942075"/>
              <a:gd name="connsiteY11" fmla="*/ 5798560 h 6924674"/>
              <a:gd name="connsiteX12" fmla="*/ 7774624 w 9942075"/>
              <a:gd name="connsiteY12" fmla="*/ 5725442 h 6924674"/>
              <a:gd name="connsiteX13" fmla="*/ 7774811 w 9942075"/>
              <a:gd name="connsiteY13" fmla="*/ 4865918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4811 w 9942075"/>
              <a:gd name="connsiteY0" fmla="*/ 4865918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0754 w 9942075"/>
              <a:gd name="connsiteY11" fmla="*/ 5719185 h 6924674"/>
              <a:gd name="connsiteX12" fmla="*/ 7774624 w 9942075"/>
              <a:gd name="connsiteY12" fmla="*/ 5725442 h 6924674"/>
              <a:gd name="connsiteX13" fmla="*/ 7774811 w 9942075"/>
              <a:gd name="connsiteY13" fmla="*/ 4865918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4811 w 9942075"/>
              <a:gd name="connsiteY0" fmla="*/ 4865918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0754 w 9942075"/>
              <a:gd name="connsiteY11" fmla="*/ 5719185 h 6924674"/>
              <a:gd name="connsiteX12" fmla="*/ 7777800 w 9942075"/>
              <a:gd name="connsiteY12" fmla="*/ 5801642 h 6924674"/>
              <a:gd name="connsiteX13" fmla="*/ 7774811 w 9942075"/>
              <a:gd name="connsiteY13" fmla="*/ 4865918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4811 w 9942075"/>
              <a:gd name="connsiteY0" fmla="*/ 4865918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3930 w 9942075"/>
              <a:gd name="connsiteY11" fmla="*/ 5801735 h 6924674"/>
              <a:gd name="connsiteX12" fmla="*/ 7777800 w 9942075"/>
              <a:gd name="connsiteY12" fmla="*/ 5801642 h 6924674"/>
              <a:gd name="connsiteX13" fmla="*/ 7774811 w 9942075"/>
              <a:gd name="connsiteY13" fmla="*/ 4865918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2540 w 9942075"/>
              <a:gd name="connsiteY0" fmla="*/ 4944499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3930 w 9942075"/>
              <a:gd name="connsiteY11" fmla="*/ 5801735 h 6924674"/>
              <a:gd name="connsiteX12" fmla="*/ 7777800 w 9942075"/>
              <a:gd name="connsiteY12" fmla="*/ 5801642 h 6924674"/>
              <a:gd name="connsiteX13" fmla="*/ 7772540 w 9942075"/>
              <a:gd name="connsiteY13" fmla="*/ 4944499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875076 w 9942075"/>
              <a:gd name="connsiteY0" fmla="*/ 5025462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3930 w 9942075"/>
              <a:gd name="connsiteY11" fmla="*/ 5801735 h 6924674"/>
              <a:gd name="connsiteX12" fmla="*/ 7777800 w 9942075"/>
              <a:gd name="connsiteY12" fmla="*/ 5801642 h 6924674"/>
              <a:gd name="connsiteX13" fmla="*/ 7875076 w 9942075"/>
              <a:gd name="connsiteY13" fmla="*/ 5025462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5174 w 9942075"/>
              <a:gd name="connsiteY0" fmla="*/ 4863537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3930 w 9942075"/>
              <a:gd name="connsiteY11" fmla="*/ 5801735 h 6924674"/>
              <a:gd name="connsiteX12" fmla="*/ 7777800 w 9942075"/>
              <a:gd name="connsiteY12" fmla="*/ 5801642 h 6924674"/>
              <a:gd name="connsiteX13" fmla="*/ 7775174 w 9942075"/>
              <a:gd name="connsiteY13" fmla="*/ 4863537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868183 w 9942075"/>
              <a:gd name="connsiteY0" fmla="*/ 4984981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3930 w 9942075"/>
              <a:gd name="connsiteY11" fmla="*/ 5801735 h 6924674"/>
              <a:gd name="connsiteX12" fmla="*/ 7777800 w 9942075"/>
              <a:gd name="connsiteY12" fmla="*/ 5801642 h 6924674"/>
              <a:gd name="connsiteX13" fmla="*/ 7868183 w 9942075"/>
              <a:gd name="connsiteY13" fmla="*/ 4984981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5425 w 9942075"/>
              <a:gd name="connsiteY0" fmla="*/ 4863537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3930 w 9942075"/>
              <a:gd name="connsiteY11" fmla="*/ 5801735 h 6924674"/>
              <a:gd name="connsiteX12" fmla="*/ 7777800 w 9942075"/>
              <a:gd name="connsiteY12" fmla="*/ 5801642 h 6924674"/>
              <a:gd name="connsiteX13" fmla="*/ 7775425 w 9942075"/>
              <a:gd name="connsiteY13" fmla="*/ 4863537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899400 w 9942075"/>
              <a:gd name="connsiteY0" fmla="*/ 4954024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3930 w 9942075"/>
              <a:gd name="connsiteY11" fmla="*/ 5801735 h 6924674"/>
              <a:gd name="connsiteX12" fmla="*/ 7777800 w 9942075"/>
              <a:gd name="connsiteY12" fmla="*/ 5801642 h 6924674"/>
              <a:gd name="connsiteX13" fmla="*/ 7899400 w 9942075"/>
              <a:gd name="connsiteY13" fmla="*/ 4954024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3304 w 9942075"/>
              <a:gd name="connsiteY0" fmla="*/ 4861156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96 w 9942075"/>
              <a:gd name="connsiteY10" fmla="*/ 4860861 h 6924674"/>
              <a:gd name="connsiteX11" fmla="*/ 6843930 w 9942075"/>
              <a:gd name="connsiteY11" fmla="*/ 5801735 h 6924674"/>
              <a:gd name="connsiteX12" fmla="*/ 7777800 w 9942075"/>
              <a:gd name="connsiteY12" fmla="*/ 5801642 h 6924674"/>
              <a:gd name="connsiteX13" fmla="*/ 7773304 w 9942075"/>
              <a:gd name="connsiteY13" fmla="*/ 4861156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3304 w 9942075"/>
              <a:gd name="connsiteY0" fmla="*/ 4861156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584387 w 9942075"/>
              <a:gd name="connsiteY10" fmla="*/ 5341896 h 6924674"/>
              <a:gd name="connsiteX11" fmla="*/ 6843930 w 9942075"/>
              <a:gd name="connsiteY11" fmla="*/ 5801735 h 6924674"/>
              <a:gd name="connsiteX12" fmla="*/ 7777800 w 9942075"/>
              <a:gd name="connsiteY12" fmla="*/ 5801642 h 6924674"/>
              <a:gd name="connsiteX13" fmla="*/ 7773304 w 9942075"/>
              <a:gd name="connsiteY13" fmla="*/ 4861156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3304 w 9942075"/>
              <a:gd name="connsiteY0" fmla="*/ 4861156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42265 w 9942075"/>
              <a:gd name="connsiteY10" fmla="*/ 4869528 h 6924674"/>
              <a:gd name="connsiteX11" fmla="*/ 6843930 w 9942075"/>
              <a:gd name="connsiteY11" fmla="*/ 5801735 h 6924674"/>
              <a:gd name="connsiteX12" fmla="*/ 7777800 w 9942075"/>
              <a:gd name="connsiteY12" fmla="*/ 5801642 h 6924674"/>
              <a:gd name="connsiteX13" fmla="*/ 7773304 w 9942075"/>
              <a:gd name="connsiteY13" fmla="*/ 4861156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3304 w 9942075"/>
              <a:gd name="connsiteY0" fmla="*/ 4861156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628942 w 9942075"/>
              <a:gd name="connsiteY10" fmla="*/ 5002304 h 6924674"/>
              <a:gd name="connsiteX11" fmla="*/ 6843930 w 9942075"/>
              <a:gd name="connsiteY11" fmla="*/ 5801735 h 6924674"/>
              <a:gd name="connsiteX12" fmla="*/ 7777800 w 9942075"/>
              <a:gd name="connsiteY12" fmla="*/ 5801642 h 6924674"/>
              <a:gd name="connsiteX13" fmla="*/ 7773304 w 9942075"/>
              <a:gd name="connsiteY13" fmla="*/ 4861156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3304 w 9942075"/>
              <a:gd name="connsiteY0" fmla="*/ 4861156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39066 w 9942075"/>
              <a:gd name="connsiteY10" fmla="*/ 4864517 h 6924674"/>
              <a:gd name="connsiteX11" fmla="*/ 6843930 w 9942075"/>
              <a:gd name="connsiteY11" fmla="*/ 5801735 h 6924674"/>
              <a:gd name="connsiteX12" fmla="*/ 7777800 w 9942075"/>
              <a:gd name="connsiteY12" fmla="*/ 5801642 h 6924674"/>
              <a:gd name="connsiteX13" fmla="*/ 7773304 w 9942075"/>
              <a:gd name="connsiteY13" fmla="*/ 4861156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3304 w 9942075"/>
              <a:gd name="connsiteY0" fmla="*/ 4861156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600682 w 9942075"/>
              <a:gd name="connsiteY10" fmla="*/ 5059923 h 6924674"/>
              <a:gd name="connsiteX11" fmla="*/ 6843930 w 9942075"/>
              <a:gd name="connsiteY11" fmla="*/ 5801735 h 6924674"/>
              <a:gd name="connsiteX12" fmla="*/ 7777800 w 9942075"/>
              <a:gd name="connsiteY12" fmla="*/ 5801642 h 6924674"/>
              <a:gd name="connsiteX13" fmla="*/ 7773304 w 9942075"/>
              <a:gd name="connsiteY13" fmla="*/ 4861156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3304 w 9942075"/>
              <a:gd name="connsiteY0" fmla="*/ 4861156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924674 h 6924674"/>
              <a:gd name="connsiteX9" fmla="*/ 0 w 9942075"/>
              <a:gd name="connsiteY9" fmla="*/ 4860070 h 6924674"/>
              <a:gd name="connsiteX10" fmla="*/ 6838362 w 9942075"/>
              <a:gd name="connsiteY10" fmla="*/ 4862012 h 6924674"/>
              <a:gd name="connsiteX11" fmla="*/ 6843930 w 9942075"/>
              <a:gd name="connsiteY11" fmla="*/ 5801735 h 6924674"/>
              <a:gd name="connsiteX12" fmla="*/ 7777800 w 9942075"/>
              <a:gd name="connsiteY12" fmla="*/ 5801642 h 6924674"/>
              <a:gd name="connsiteX13" fmla="*/ 7773304 w 9942075"/>
              <a:gd name="connsiteY13" fmla="*/ 4861156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85440 w 9954211"/>
              <a:gd name="connsiteY0" fmla="*/ 4861156 h 6924674"/>
              <a:gd name="connsiteX1" fmla="*/ 9954143 w 9954211"/>
              <a:gd name="connsiteY1" fmla="*/ 4866996 h 6924674"/>
              <a:gd name="connsiteX2" fmla="*/ 9944615 w 9954211"/>
              <a:gd name="connsiteY2" fmla="*/ 6924674 h 6924674"/>
              <a:gd name="connsiteX3" fmla="*/ 9936994 w 9954211"/>
              <a:gd name="connsiteY3" fmla="*/ 6924674 h 6924674"/>
              <a:gd name="connsiteX4" fmla="*/ 9098795 w 9954211"/>
              <a:gd name="connsiteY4" fmla="*/ 6924674 h 6924674"/>
              <a:gd name="connsiteX5" fmla="*/ 6791921 w 9954211"/>
              <a:gd name="connsiteY5" fmla="*/ 6924674 h 6924674"/>
              <a:gd name="connsiteX6" fmla="*/ 5841311 w 9954211"/>
              <a:gd name="connsiteY6" fmla="*/ 6924674 h 6924674"/>
              <a:gd name="connsiteX7" fmla="*/ 5841310 w 9954211"/>
              <a:gd name="connsiteY7" fmla="*/ 6924674 h 6924674"/>
              <a:gd name="connsiteX8" fmla="*/ 71 w 9954211"/>
              <a:gd name="connsiteY8" fmla="*/ 6846275 h 6924674"/>
              <a:gd name="connsiteX9" fmla="*/ 12136 w 9954211"/>
              <a:gd name="connsiteY9" fmla="*/ 4860070 h 6924674"/>
              <a:gd name="connsiteX10" fmla="*/ 6850498 w 9954211"/>
              <a:gd name="connsiteY10" fmla="*/ 4862012 h 6924674"/>
              <a:gd name="connsiteX11" fmla="*/ 6856066 w 9954211"/>
              <a:gd name="connsiteY11" fmla="*/ 5801735 h 6924674"/>
              <a:gd name="connsiteX12" fmla="*/ 7789936 w 9954211"/>
              <a:gd name="connsiteY12" fmla="*/ 5801642 h 6924674"/>
              <a:gd name="connsiteX13" fmla="*/ 7785440 w 9954211"/>
              <a:gd name="connsiteY13" fmla="*/ 4861156 h 6924674"/>
              <a:gd name="connsiteX14" fmla="*/ 23374 w 9954211"/>
              <a:gd name="connsiteY14" fmla="*/ 0 h 6924674"/>
              <a:gd name="connsiteX15" fmla="*/ 9944615 w 9954211"/>
              <a:gd name="connsiteY15" fmla="*/ 0 h 6924674"/>
              <a:gd name="connsiteX16" fmla="*/ 9944615 w 9954211"/>
              <a:gd name="connsiteY16" fmla="*/ 2061756 h 6924674"/>
              <a:gd name="connsiteX17" fmla="*/ 23374 w 9954211"/>
              <a:gd name="connsiteY17" fmla="*/ 2060204 h 6924674"/>
              <a:gd name="connsiteX18" fmla="*/ 23374 w 9954211"/>
              <a:gd name="connsiteY18" fmla="*/ 0 h 6924674"/>
              <a:gd name="connsiteX0" fmla="*/ 7773304 w 9942075"/>
              <a:gd name="connsiteY0" fmla="*/ 4861156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66352 w 9942075"/>
              <a:gd name="connsiteY8" fmla="*/ 6328838 h 6924674"/>
              <a:gd name="connsiteX9" fmla="*/ 0 w 9942075"/>
              <a:gd name="connsiteY9" fmla="*/ 4860070 h 6924674"/>
              <a:gd name="connsiteX10" fmla="*/ 6838362 w 9942075"/>
              <a:gd name="connsiteY10" fmla="*/ 4862012 h 6924674"/>
              <a:gd name="connsiteX11" fmla="*/ 6843930 w 9942075"/>
              <a:gd name="connsiteY11" fmla="*/ 5801735 h 6924674"/>
              <a:gd name="connsiteX12" fmla="*/ 7777800 w 9942075"/>
              <a:gd name="connsiteY12" fmla="*/ 5801642 h 6924674"/>
              <a:gd name="connsiteX13" fmla="*/ 7773304 w 9942075"/>
              <a:gd name="connsiteY13" fmla="*/ 4861156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3304 w 9942075"/>
              <a:gd name="connsiteY0" fmla="*/ 4861156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5829174 w 9942075"/>
              <a:gd name="connsiteY7" fmla="*/ 6924674 h 6924674"/>
              <a:gd name="connsiteX8" fmla="*/ 3619 w 9942075"/>
              <a:gd name="connsiteY8" fmla="*/ 6814915 h 6924674"/>
              <a:gd name="connsiteX9" fmla="*/ 0 w 9942075"/>
              <a:gd name="connsiteY9" fmla="*/ 4860070 h 6924674"/>
              <a:gd name="connsiteX10" fmla="*/ 6838362 w 9942075"/>
              <a:gd name="connsiteY10" fmla="*/ 4862012 h 6924674"/>
              <a:gd name="connsiteX11" fmla="*/ 6843930 w 9942075"/>
              <a:gd name="connsiteY11" fmla="*/ 5801735 h 6924674"/>
              <a:gd name="connsiteX12" fmla="*/ 7777800 w 9942075"/>
              <a:gd name="connsiteY12" fmla="*/ 5801642 h 6924674"/>
              <a:gd name="connsiteX13" fmla="*/ 7773304 w 9942075"/>
              <a:gd name="connsiteY13" fmla="*/ 4861156 h 6924674"/>
              <a:gd name="connsiteX14" fmla="*/ 11238 w 9942075"/>
              <a:gd name="connsiteY14" fmla="*/ 0 h 6924674"/>
              <a:gd name="connsiteX15" fmla="*/ 9932479 w 9942075"/>
              <a:gd name="connsiteY15" fmla="*/ 0 h 6924674"/>
              <a:gd name="connsiteX16" fmla="*/ 9932479 w 9942075"/>
              <a:gd name="connsiteY16" fmla="*/ 2061756 h 6924674"/>
              <a:gd name="connsiteX17" fmla="*/ 11238 w 9942075"/>
              <a:gd name="connsiteY17" fmla="*/ 2060204 h 6924674"/>
              <a:gd name="connsiteX18" fmla="*/ 11238 w 9942075"/>
              <a:gd name="connsiteY18" fmla="*/ 0 h 6924674"/>
              <a:gd name="connsiteX0" fmla="*/ 7773304 w 9942075"/>
              <a:gd name="connsiteY0" fmla="*/ 4861156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6779785 w 9942075"/>
              <a:gd name="connsiteY5" fmla="*/ 6924674 h 6924674"/>
              <a:gd name="connsiteX6" fmla="*/ 5829175 w 9942075"/>
              <a:gd name="connsiteY6" fmla="*/ 6924674 h 6924674"/>
              <a:gd name="connsiteX7" fmla="*/ 3619 w 9942075"/>
              <a:gd name="connsiteY7" fmla="*/ 6814915 h 6924674"/>
              <a:gd name="connsiteX8" fmla="*/ 0 w 9942075"/>
              <a:gd name="connsiteY8" fmla="*/ 4860070 h 6924674"/>
              <a:gd name="connsiteX9" fmla="*/ 6838362 w 9942075"/>
              <a:gd name="connsiteY9" fmla="*/ 4862012 h 6924674"/>
              <a:gd name="connsiteX10" fmla="*/ 6843930 w 9942075"/>
              <a:gd name="connsiteY10" fmla="*/ 5801735 h 6924674"/>
              <a:gd name="connsiteX11" fmla="*/ 7777800 w 9942075"/>
              <a:gd name="connsiteY11" fmla="*/ 5801642 h 6924674"/>
              <a:gd name="connsiteX12" fmla="*/ 7773304 w 9942075"/>
              <a:gd name="connsiteY12" fmla="*/ 4861156 h 6924674"/>
              <a:gd name="connsiteX13" fmla="*/ 11238 w 9942075"/>
              <a:gd name="connsiteY13" fmla="*/ 0 h 6924674"/>
              <a:gd name="connsiteX14" fmla="*/ 9932479 w 9942075"/>
              <a:gd name="connsiteY14" fmla="*/ 0 h 6924674"/>
              <a:gd name="connsiteX15" fmla="*/ 9932479 w 9942075"/>
              <a:gd name="connsiteY15" fmla="*/ 2061756 h 6924674"/>
              <a:gd name="connsiteX16" fmla="*/ 11238 w 9942075"/>
              <a:gd name="connsiteY16" fmla="*/ 2060204 h 6924674"/>
              <a:gd name="connsiteX17" fmla="*/ 11238 w 9942075"/>
              <a:gd name="connsiteY17" fmla="*/ 0 h 6924674"/>
              <a:gd name="connsiteX0" fmla="*/ 7773304 w 9942075"/>
              <a:gd name="connsiteY0" fmla="*/ 4861156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5829175 w 9942075"/>
              <a:gd name="connsiteY5" fmla="*/ 6924674 h 6924674"/>
              <a:gd name="connsiteX6" fmla="*/ 3619 w 9942075"/>
              <a:gd name="connsiteY6" fmla="*/ 6814915 h 6924674"/>
              <a:gd name="connsiteX7" fmla="*/ 0 w 9942075"/>
              <a:gd name="connsiteY7" fmla="*/ 4860070 h 6924674"/>
              <a:gd name="connsiteX8" fmla="*/ 6838362 w 9942075"/>
              <a:gd name="connsiteY8" fmla="*/ 4862012 h 6924674"/>
              <a:gd name="connsiteX9" fmla="*/ 6843930 w 9942075"/>
              <a:gd name="connsiteY9" fmla="*/ 5801735 h 6924674"/>
              <a:gd name="connsiteX10" fmla="*/ 7777800 w 9942075"/>
              <a:gd name="connsiteY10" fmla="*/ 5801642 h 6924674"/>
              <a:gd name="connsiteX11" fmla="*/ 7773304 w 9942075"/>
              <a:gd name="connsiteY11" fmla="*/ 4861156 h 6924674"/>
              <a:gd name="connsiteX12" fmla="*/ 11238 w 9942075"/>
              <a:gd name="connsiteY12" fmla="*/ 0 h 6924674"/>
              <a:gd name="connsiteX13" fmla="*/ 9932479 w 9942075"/>
              <a:gd name="connsiteY13" fmla="*/ 0 h 6924674"/>
              <a:gd name="connsiteX14" fmla="*/ 9932479 w 9942075"/>
              <a:gd name="connsiteY14" fmla="*/ 2061756 h 6924674"/>
              <a:gd name="connsiteX15" fmla="*/ 11238 w 9942075"/>
              <a:gd name="connsiteY15" fmla="*/ 2060204 h 6924674"/>
              <a:gd name="connsiteX16" fmla="*/ 11238 w 9942075"/>
              <a:gd name="connsiteY16" fmla="*/ 0 h 6924674"/>
              <a:gd name="connsiteX0" fmla="*/ 7773304 w 9942075"/>
              <a:gd name="connsiteY0" fmla="*/ 4861156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9086659 w 9942075"/>
              <a:gd name="connsiteY4" fmla="*/ 6924674 h 6924674"/>
              <a:gd name="connsiteX5" fmla="*/ 3619 w 9942075"/>
              <a:gd name="connsiteY5" fmla="*/ 6814915 h 6924674"/>
              <a:gd name="connsiteX6" fmla="*/ 0 w 9942075"/>
              <a:gd name="connsiteY6" fmla="*/ 4860070 h 6924674"/>
              <a:gd name="connsiteX7" fmla="*/ 6838362 w 9942075"/>
              <a:gd name="connsiteY7" fmla="*/ 4862012 h 6924674"/>
              <a:gd name="connsiteX8" fmla="*/ 6843930 w 9942075"/>
              <a:gd name="connsiteY8" fmla="*/ 5801735 h 6924674"/>
              <a:gd name="connsiteX9" fmla="*/ 7777800 w 9942075"/>
              <a:gd name="connsiteY9" fmla="*/ 5801642 h 6924674"/>
              <a:gd name="connsiteX10" fmla="*/ 7773304 w 9942075"/>
              <a:gd name="connsiteY10" fmla="*/ 4861156 h 6924674"/>
              <a:gd name="connsiteX11" fmla="*/ 11238 w 9942075"/>
              <a:gd name="connsiteY11" fmla="*/ 0 h 6924674"/>
              <a:gd name="connsiteX12" fmla="*/ 9932479 w 9942075"/>
              <a:gd name="connsiteY12" fmla="*/ 0 h 6924674"/>
              <a:gd name="connsiteX13" fmla="*/ 9932479 w 9942075"/>
              <a:gd name="connsiteY13" fmla="*/ 2061756 h 6924674"/>
              <a:gd name="connsiteX14" fmla="*/ 11238 w 9942075"/>
              <a:gd name="connsiteY14" fmla="*/ 2060204 h 6924674"/>
              <a:gd name="connsiteX15" fmla="*/ 11238 w 9942075"/>
              <a:gd name="connsiteY15" fmla="*/ 0 h 6924674"/>
              <a:gd name="connsiteX0" fmla="*/ 7773304 w 9942075"/>
              <a:gd name="connsiteY0" fmla="*/ 4861156 h 6924674"/>
              <a:gd name="connsiteX1" fmla="*/ 9942007 w 9942075"/>
              <a:gd name="connsiteY1" fmla="*/ 4866996 h 6924674"/>
              <a:gd name="connsiteX2" fmla="*/ 9932479 w 9942075"/>
              <a:gd name="connsiteY2" fmla="*/ 6924674 h 6924674"/>
              <a:gd name="connsiteX3" fmla="*/ 9924858 w 9942075"/>
              <a:gd name="connsiteY3" fmla="*/ 6924674 h 6924674"/>
              <a:gd name="connsiteX4" fmla="*/ 3619 w 9942075"/>
              <a:gd name="connsiteY4" fmla="*/ 6814915 h 6924674"/>
              <a:gd name="connsiteX5" fmla="*/ 0 w 9942075"/>
              <a:gd name="connsiteY5" fmla="*/ 4860070 h 6924674"/>
              <a:gd name="connsiteX6" fmla="*/ 6838362 w 9942075"/>
              <a:gd name="connsiteY6" fmla="*/ 4862012 h 6924674"/>
              <a:gd name="connsiteX7" fmla="*/ 6843930 w 9942075"/>
              <a:gd name="connsiteY7" fmla="*/ 5801735 h 6924674"/>
              <a:gd name="connsiteX8" fmla="*/ 7777800 w 9942075"/>
              <a:gd name="connsiteY8" fmla="*/ 5801642 h 6924674"/>
              <a:gd name="connsiteX9" fmla="*/ 7773304 w 9942075"/>
              <a:gd name="connsiteY9" fmla="*/ 4861156 h 6924674"/>
              <a:gd name="connsiteX10" fmla="*/ 11238 w 9942075"/>
              <a:gd name="connsiteY10" fmla="*/ 0 h 6924674"/>
              <a:gd name="connsiteX11" fmla="*/ 9932479 w 9942075"/>
              <a:gd name="connsiteY11" fmla="*/ 0 h 6924674"/>
              <a:gd name="connsiteX12" fmla="*/ 9932479 w 9942075"/>
              <a:gd name="connsiteY12" fmla="*/ 2061756 h 6924674"/>
              <a:gd name="connsiteX13" fmla="*/ 11238 w 9942075"/>
              <a:gd name="connsiteY13" fmla="*/ 2060204 h 6924674"/>
              <a:gd name="connsiteX14" fmla="*/ 11238 w 9942075"/>
              <a:gd name="connsiteY14" fmla="*/ 0 h 6924674"/>
              <a:gd name="connsiteX0" fmla="*/ 7773304 w 9942075"/>
              <a:gd name="connsiteY0" fmla="*/ 4861156 h 6924674"/>
              <a:gd name="connsiteX1" fmla="*/ 9942007 w 9942075"/>
              <a:gd name="connsiteY1" fmla="*/ 4866996 h 6924674"/>
              <a:gd name="connsiteX2" fmla="*/ 9932479 w 9942075"/>
              <a:gd name="connsiteY2" fmla="*/ 6924674 h 6924674"/>
              <a:gd name="connsiteX3" fmla="*/ 9203424 w 9942075"/>
              <a:gd name="connsiteY3" fmla="*/ 5905480 h 6924674"/>
              <a:gd name="connsiteX4" fmla="*/ 3619 w 9942075"/>
              <a:gd name="connsiteY4" fmla="*/ 6814915 h 6924674"/>
              <a:gd name="connsiteX5" fmla="*/ 0 w 9942075"/>
              <a:gd name="connsiteY5" fmla="*/ 4860070 h 6924674"/>
              <a:gd name="connsiteX6" fmla="*/ 6838362 w 9942075"/>
              <a:gd name="connsiteY6" fmla="*/ 4862012 h 6924674"/>
              <a:gd name="connsiteX7" fmla="*/ 6843930 w 9942075"/>
              <a:gd name="connsiteY7" fmla="*/ 5801735 h 6924674"/>
              <a:gd name="connsiteX8" fmla="*/ 7777800 w 9942075"/>
              <a:gd name="connsiteY8" fmla="*/ 5801642 h 6924674"/>
              <a:gd name="connsiteX9" fmla="*/ 7773304 w 9942075"/>
              <a:gd name="connsiteY9" fmla="*/ 4861156 h 6924674"/>
              <a:gd name="connsiteX10" fmla="*/ 11238 w 9942075"/>
              <a:gd name="connsiteY10" fmla="*/ 0 h 6924674"/>
              <a:gd name="connsiteX11" fmla="*/ 9932479 w 9942075"/>
              <a:gd name="connsiteY11" fmla="*/ 0 h 6924674"/>
              <a:gd name="connsiteX12" fmla="*/ 9932479 w 9942075"/>
              <a:gd name="connsiteY12" fmla="*/ 2061756 h 6924674"/>
              <a:gd name="connsiteX13" fmla="*/ 11238 w 9942075"/>
              <a:gd name="connsiteY13" fmla="*/ 2060204 h 6924674"/>
              <a:gd name="connsiteX14" fmla="*/ 11238 w 9942075"/>
              <a:gd name="connsiteY14" fmla="*/ 0 h 6924674"/>
              <a:gd name="connsiteX0" fmla="*/ 7773304 w 9942075"/>
              <a:gd name="connsiteY0" fmla="*/ 4861156 h 6924674"/>
              <a:gd name="connsiteX1" fmla="*/ 9942007 w 9942075"/>
              <a:gd name="connsiteY1" fmla="*/ 4866996 h 6924674"/>
              <a:gd name="connsiteX2" fmla="*/ 9932479 w 9942075"/>
              <a:gd name="connsiteY2" fmla="*/ 6924674 h 6924674"/>
              <a:gd name="connsiteX3" fmla="*/ 3619 w 9942075"/>
              <a:gd name="connsiteY3" fmla="*/ 6814915 h 6924674"/>
              <a:gd name="connsiteX4" fmla="*/ 0 w 9942075"/>
              <a:gd name="connsiteY4" fmla="*/ 4860070 h 6924674"/>
              <a:gd name="connsiteX5" fmla="*/ 6838362 w 9942075"/>
              <a:gd name="connsiteY5" fmla="*/ 4862012 h 6924674"/>
              <a:gd name="connsiteX6" fmla="*/ 6843930 w 9942075"/>
              <a:gd name="connsiteY6" fmla="*/ 5801735 h 6924674"/>
              <a:gd name="connsiteX7" fmla="*/ 7777800 w 9942075"/>
              <a:gd name="connsiteY7" fmla="*/ 5801642 h 6924674"/>
              <a:gd name="connsiteX8" fmla="*/ 7773304 w 9942075"/>
              <a:gd name="connsiteY8" fmla="*/ 4861156 h 6924674"/>
              <a:gd name="connsiteX9" fmla="*/ 11238 w 9942075"/>
              <a:gd name="connsiteY9" fmla="*/ 0 h 6924674"/>
              <a:gd name="connsiteX10" fmla="*/ 9932479 w 9942075"/>
              <a:gd name="connsiteY10" fmla="*/ 0 h 6924674"/>
              <a:gd name="connsiteX11" fmla="*/ 9932479 w 9942075"/>
              <a:gd name="connsiteY11" fmla="*/ 2061756 h 6924674"/>
              <a:gd name="connsiteX12" fmla="*/ 11238 w 9942075"/>
              <a:gd name="connsiteY12" fmla="*/ 2060204 h 6924674"/>
              <a:gd name="connsiteX13" fmla="*/ 11238 w 9942075"/>
              <a:gd name="connsiteY13" fmla="*/ 0 h 6924674"/>
              <a:gd name="connsiteX0" fmla="*/ 7773304 w 9942007"/>
              <a:gd name="connsiteY0" fmla="*/ 4861156 h 6814915"/>
              <a:gd name="connsiteX1" fmla="*/ 9942007 w 9942007"/>
              <a:gd name="connsiteY1" fmla="*/ 4866996 h 6814915"/>
              <a:gd name="connsiteX2" fmla="*/ 8913061 w 9942007"/>
              <a:gd name="connsiteY2" fmla="*/ 5905480 h 6814915"/>
              <a:gd name="connsiteX3" fmla="*/ 3619 w 9942007"/>
              <a:gd name="connsiteY3" fmla="*/ 6814915 h 6814915"/>
              <a:gd name="connsiteX4" fmla="*/ 0 w 9942007"/>
              <a:gd name="connsiteY4" fmla="*/ 4860070 h 6814915"/>
              <a:gd name="connsiteX5" fmla="*/ 6838362 w 9942007"/>
              <a:gd name="connsiteY5" fmla="*/ 4862012 h 6814915"/>
              <a:gd name="connsiteX6" fmla="*/ 6843930 w 9942007"/>
              <a:gd name="connsiteY6" fmla="*/ 5801735 h 6814915"/>
              <a:gd name="connsiteX7" fmla="*/ 7777800 w 9942007"/>
              <a:gd name="connsiteY7" fmla="*/ 5801642 h 6814915"/>
              <a:gd name="connsiteX8" fmla="*/ 7773304 w 9942007"/>
              <a:gd name="connsiteY8" fmla="*/ 4861156 h 6814915"/>
              <a:gd name="connsiteX9" fmla="*/ 11238 w 9942007"/>
              <a:gd name="connsiteY9" fmla="*/ 0 h 6814915"/>
              <a:gd name="connsiteX10" fmla="*/ 9932479 w 9942007"/>
              <a:gd name="connsiteY10" fmla="*/ 0 h 6814915"/>
              <a:gd name="connsiteX11" fmla="*/ 9932479 w 9942007"/>
              <a:gd name="connsiteY11" fmla="*/ 2061756 h 6814915"/>
              <a:gd name="connsiteX12" fmla="*/ 11238 w 9942007"/>
              <a:gd name="connsiteY12" fmla="*/ 2060204 h 6814915"/>
              <a:gd name="connsiteX13" fmla="*/ 11238 w 9942007"/>
              <a:gd name="connsiteY13" fmla="*/ 0 h 6814915"/>
              <a:gd name="connsiteX0" fmla="*/ 7773304 w 9942075"/>
              <a:gd name="connsiteY0" fmla="*/ 4861156 h 6846275"/>
              <a:gd name="connsiteX1" fmla="*/ 9942007 w 9942075"/>
              <a:gd name="connsiteY1" fmla="*/ 4866996 h 6846275"/>
              <a:gd name="connsiteX2" fmla="*/ 9932479 w 9942075"/>
              <a:gd name="connsiteY2" fmla="*/ 6846275 h 6846275"/>
              <a:gd name="connsiteX3" fmla="*/ 3619 w 9942075"/>
              <a:gd name="connsiteY3" fmla="*/ 6814915 h 6846275"/>
              <a:gd name="connsiteX4" fmla="*/ 0 w 9942075"/>
              <a:gd name="connsiteY4" fmla="*/ 4860070 h 6846275"/>
              <a:gd name="connsiteX5" fmla="*/ 6838362 w 9942075"/>
              <a:gd name="connsiteY5" fmla="*/ 4862012 h 6846275"/>
              <a:gd name="connsiteX6" fmla="*/ 6843930 w 9942075"/>
              <a:gd name="connsiteY6" fmla="*/ 5801735 h 6846275"/>
              <a:gd name="connsiteX7" fmla="*/ 7777800 w 9942075"/>
              <a:gd name="connsiteY7" fmla="*/ 5801642 h 6846275"/>
              <a:gd name="connsiteX8" fmla="*/ 7773304 w 9942075"/>
              <a:gd name="connsiteY8" fmla="*/ 4861156 h 6846275"/>
              <a:gd name="connsiteX9" fmla="*/ 11238 w 9942075"/>
              <a:gd name="connsiteY9" fmla="*/ 0 h 6846275"/>
              <a:gd name="connsiteX10" fmla="*/ 9932479 w 9942075"/>
              <a:gd name="connsiteY10" fmla="*/ 0 h 6846275"/>
              <a:gd name="connsiteX11" fmla="*/ 9932479 w 9942075"/>
              <a:gd name="connsiteY11" fmla="*/ 2061756 h 6846275"/>
              <a:gd name="connsiteX12" fmla="*/ 11238 w 9942075"/>
              <a:gd name="connsiteY12" fmla="*/ 2060204 h 6846275"/>
              <a:gd name="connsiteX13" fmla="*/ 11238 w 9942075"/>
              <a:gd name="connsiteY13" fmla="*/ 0 h 6846275"/>
              <a:gd name="connsiteX0" fmla="*/ 7773304 w 9942075"/>
              <a:gd name="connsiteY0" fmla="*/ 4861156 h 6846275"/>
              <a:gd name="connsiteX1" fmla="*/ 9942007 w 9942075"/>
              <a:gd name="connsiteY1" fmla="*/ 4866996 h 6846275"/>
              <a:gd name="connsiteX2" fmla="*/ 9932479 w 9942075"/>
              <a:gd name="connsiteY2" fmla="*/ 6846275 h 6846275"/>
              <a:gd name="connsiteX3" fmla="*/ 3619 w 9942075"/>
              <a:gd name="connsiteY3" fmla="*/ 6814915 h 6846275"/>
              <a:gd name="connsiteX4" fmla="*/ 0 w 9942075"/>
              <a:gd name="connsiteY4" fmla="*/ 4860070 h 6846275"/>
              <a:gd name="connsiteX5" fmla="*/ 6838362 w 9942075"/>
              <a:gd name="connsiteY5" fmla="*/ 4862012 h 6846275"/>
              <a:gd name="connsiteX6" fmla="*/ 6843930 w 9942075"/>
              <a:gd name="connsiteY6" fmla="*/ 5801735 h 6846275"/>
              <a:gd name="connsiteX7" fmla="*/ 7777800 w 9942075"/>
              <a:gd name="connsiteY7" fmla="*/ 5801642 h 6846275"/>
              <a:gd name="connsiteX8" fmla="*/ 7773304 w 9942075"/>
              <a:gd name="connsiteY8" fmla="*/ 4861156 h 6846275"/>
              <a:gd name="connsiteX9" fmla="*/ 11238 w 9942075"/>
              <a:gd name="connsiteY9" fmla="*/ 0 h 6846275"/>
              <a:gd name="connsiteX10" fmla="*/ 9038527 w 9942075"/>
              <a:gd name="connsiteY10" fmla="*/ 360638 h 6846275"/>
              <a:gd name="connsiteX11" fmla="*/ 9932479 w 9942075"/>
              <a:gd name="connsiteY11" fmla="*/ 2061756 h 6846275"/>
              <a:gd name="connsiteX12" fmla="*/ 11238 w 9942075"/>
              <a:gd name="connsiteY12" fmla="*/ 2060204 h 6846275"/>
              <a:gd name="connsiteX13" fmla="*/ 11238 w 9942075"/>
              <a:gd name="connsiteY13" fmla="*/ 0 h 6846275"/>
              <a:gd name="connsiteX0" fmla="*/ 7773304 w 9948162"/>
              <a:gd name="connsiteY0" fmla="*/ 4892516 h 6877635"/>
              <a:gd name="connsiteX1" fmla="*/ 9942007 w 9948162"/>
              <a:gd name="connsiteY1" fmla="*/ 4898356 h 6877635"/>
              <a:gd name="connsiteX2" fmla="*/ 9932479 w 9948162"/>
              <a:gd name="connsiteY2" fmla="*/ 6877635 h 6877635"/>
              <a:gd name="connsiteX3" fmla="*/ 3619 w 9948162"/>
              <a:gd name="connsiteY3" fmla="*/ 6846275 h 6877635"/>
              <a:gd name="connsiteX4" fmla="*/ 0 w 9948162"/>
              <a:gd name="connsiteY4" fmla="*/ 4891430 h 6877635"/>
              <a:gd name="connsiteX5" fmla="*/ 6838362 w 9948162"/>
              <a:gd name="connsiteY5" fmla="*/ 4893372 h 6877635"/>
              <a:gd name="connsiteX6" fmla="*/ 6843930 w 9948162"/>
              <a:gd name="connsiteY6" fmla="*/ 5833095 h 6877635"/>
              <a:gd name="connsiteX7" fmla="*/ 7777800 w 9948162"/>
              <a:gd name="connsiteY7" fmla="*/ 5833002 h 6877635"/>
              <a:gd name="connsiteX8" fmla="*/ 7773304 w 9948162"/>
              <a:gd name="connsiteY8" fmla="*/ 4892516 h 6877635"/>
              <a:gd name="connsiteX9" fmla="*/ 11238 w 9948162"/>
              <a:gd name="connsiteY9" fmla="*/ 31360 h 6877635"/>
              <a:gd name="connsiteX10" fmla="*/ 9948162 w 9948162"/>
              <a:gd name="connsiteY10" fmla="*/ 0 h 6877635"/>
              <a:gd name="connsiteX11" fmla="*/ 9932479 w 9948162"/>
              <a:gd name="connsiteY11" fmla="*/ 2093116 h 6877635"/>
              <a:gd name="connsiteX12" fmla="*/ 11238 w 9948162"/>
              <a:gd name="connsiteY12" fmla="*/ 2091564 h 6877635"/>
              <a:gd name="connsiteX13" fmla="*/ 11238 w 9948162"/>
              <a:gd name="connsiteY13" fmla="*/ 31360 h 6877635"/>
              <a:gd name="connsiteX0" fmla="*/ 7773304 w 9948162"/>
              <a:gd name="connsiteY0" fmla="*/ 4892516 h 6877635"/>
              <a:gd name="connsiteX1" fmla="*/ 9942007 w 9948162"/>
              <a:gd name="connsiteY1" fmla="*/ 4898356 h 6877635"/>
              <a:gd name="connsiteX2" fmla="*/ 9932479 w 9948162"/>
              <a:gd name="connsiteY2" fmla="*/ 6877635 h 6877635"/>
              <a:gd name="connsiteX3" fmla="*/ 3619 w 9948162"/>
              <a:gd name="connsiteY3" fmla="*/ 6846275 h 6877635"/>
              <a:gd name="connsiteX4" fmla="*/ 0 w 9948162"/>
              <a:gd name="connsiteY4" fmla="*/ 4891430 h 6877635"/>
              <a:gd name="connsiteX5" fmla="*/ 6838362 w 9948162"/>
              <a:gd name="connsiteY5" fmla="*/ 4893372 h 6877635"/>
              <a:gd name="connsiteX6" fmla="*/ 6843930 w 9948162"/>
              <a:gd name="connsiteY6" fmla="*/ 5833095 h 6877635"/>
              <a:gd name="connsiteX7" fmla="*/ 7777800 w 9948162"/>
              <a:gd name="connsiteY7" fmla="*/ 5833002 h 6877635"/>
              <a:gd name="connsiteX8" fmla="*/ 7773304 w 9948162"/>
              <a:gd name="connsiteY8" fmla="*/ 4892516 h 6877635"/>
              <a:gd name="connsiteX9" fmla="*/ 685622 w 9948162"/>
              <a:gd name="connsiteY9" fmla="*/ 454717 h 6877635"/>
              <a:gd name="connsiteX10" fmla="*/ 9948162 w 9948162"/>
              <a:gd name="connsiteY10" fmla="*/ 0 h 6877635"/>
              <a:gd name="connsiteX11" fmla="*/ 9932479 w 9948162"/>
              <a:gd name="connsiteY11" fmla="*/ 2093116 h 6877635"/>
              <a:gd name="connsiteX12" fmla="*/ 11238 w 9948162"/>
              <a:gd name="connsiteY12" fmla="*/ 2091564 h 6877635"/>
              <a:gd name="connsiteX13" fmla="*/ 685622 w 9948162"/>
              <a:gd name="connsiteY13" fmla="*/ 454717 h 6877635"/>
              <a:gd name="connsiteX0" fmla="*/ 7773304 w 9948162"/>
              <a:gd name="connsiteY0" fmla="*/ 4892516 h 6877635"/>
              <a:gd name="connsiteX1" fmla="*/ 9942007 w 9948162"/>
              <a:gd name="connsiteY1" fmla="*/ 4898356 h 6877635"/>
              <a:gd name="connsiteX2" fmla="*/ 9932479 w 9948162"/>
              <a:gd name="connsiteY2" fmla="*/ 6877635 h 6877635"/>
              <a:gd name="connsiteX3" fmla="*/ 3619 w 9948162"/>
              <a:gd name="connsiteY3" fmla="*/ 6846275 h 6877635"/>
              <a:gd name="connsiteX4" fmla="*/ 0 w 9948162"/>
              <a:gd name="connsiteY4" fmla="*/ 4891430 h 6877635"/>
              <a:gd name="connsiteX5" fmla="*/ 6838362 w 9948162"/>
              <a:gd name="connsiteY5" fmla="*/ 4893372 h 6877635"/>
              <a:gd name="connsiteX6" fmla="*/ 6843930 w 9948162"/>
              <a:gd name="connsiteY6" fmla="*/ 5833095 h 6877635"/>
              <a:gd name="connsiteX7" fmla="*/ 7777800 w 9948162"/>
              <a:gd name="connsiteY7" fmla="*/ 5833002 h 6877635"/>
              <a:gd name="connsiteX8" fmla="*/ 7773304 w 9948162"/>
              <a:gd name="connsiteY8" fmla="*/ 4892516 h 6877635"/>
              <a:gd name="connsiteX9" fmla="*/ 26921 w 9948162"/>
              <a:gd name="connsiteY9" fmla="*/ 0 h 6877635"/>
              <a:gd name="connsiteX10" fmla="*/ 9948162 w 9948162"/>
              <a:gd name="connsiteY10" fmla="*/ 0 h 6877635"/>
              <a:gd name="connsiteX11" fmla="*/ 9932479 w 9948162"/>
              <a:gd name="connsiteY11" fmla="*/ 2093116 h 6877635"/>
              <a:gd name="connsiteX12" fmla="*/ 11238 w 9948162"/>
              <a:gd name="connsiteY12" fmla="*/ 2091564 h 6877635"/>
              <a:gd name="connsiteX13" fmla="*/ 26921 w 9948162"/>
              <a:gd name="connsiteY13" fmla="*/ 0 h 6877635"/>
              <a:gd name="connsiteX0" fmla="*/ 7773304 w 9948162"/>
              <a:gd name="connsiteY0" fmla="*/ 4892516 h 6846275"/>
              <a:gd name="connsiteX1" fmla="*/ 9942007 w 9948162"/>
              <a:gd name="connsiteY1" fmla="*/ 4898356 h 6846275"/>
              <a:gd name="connsiteX2" fmla="*/ 9085578 w 9948162"/>
              <a:gd name="connsiteY2" fmla="*/ 6124999 h 6846275"/>
              <a:gd name="connsiteX3" fmla="*/ 3619 w 9948162"/>
              <a:gd name="connsiteY3" fmla="*/ 6846275 h 6846275"/>
              <a:gd name="connsiteX4" fmla="*/ 0 w 9948162"/>
              <a:gd name="connsiteY4" fmla="*/ 4891430 h 6846275"/>
              <a:gd name="connsiteX5" fmla="*/ 6838362 w 9948162"/>
              <a:gd name="connsiteY5" fmla="*/ 4893372 h 6846275"/>
              <a:gd name="connsiteX6" fmla="*/ 6843930 w 9948162"/>
              <a:gd name="connsiteY6" fmla="*/ 5833095 h 6846275"/>
              <a:gd name="connsiteX7" fmla="*/ 7777800 w 9948162"/>
              <a:gd name="connsiteY7" fmla="*/ 5833002 h 6846275"/>
              <a:gd name="connsiteX8" fmla="*/ 7773304 w 9948162"/>
              <a:gd name="connsiteY8" fmla="*/ 4892516 h 6846275"/>
              <a:gd name="connsiteX9" fmla="*/ 26921 w 9948162"/>
              <a:gd name="connsiteY9" fmla="*/ 0 h 6846275"/>
              <a:gd name="connsiteX10" fmla="*/ 9948162 w 9948162"/>
              <a:gd name="connsiteY10" fmla="*/ 0 h 6846275"/>
              <a:gd name="connsiteX11" fmla="*/ 9932479 w 9948162"/>
              <a:gd name="connsiteY11" fmla="*/ 2093116 h 6846275"/>
              <a:gd name="connsiteX12" fmla="*/ 11238 w 9948162"/>
              <a:gd name="connsiteY12" fmla="*/ 2091564 h 6846275"/>
              <a:gd name="connsiteX13" fmla="*/ 26921 w 9948162"/>
              <a:gd name="connsiteY13" fmla="*/ 0 h 6846275"/>
              <a:gd name="connsiteX0" fmla="*/ 7773304 w 9948162"/>
              <a:gd name="connsiteY0" fmla="*/ 4892516 h 6861955"/>
              <a:gd name="connsiteX1" fmla="*/ 9942007 w 9948162"/>
              <a:gd name="connsiteY1" fmla="*/ 4898356 h 6861955"/>
              <a:gd name="connsiteX2" fmla="*/ 9932480 w 9948162"/>
              <a:gd name="connsiteY2" fmla="*/ 6861955 h 6861955"/>
              <a:gd name="connsiteX3" fmla="*/ 3619 w 9948162"/>
              <a:gd name="connsiteY3" fmla="*/ 6846275 h 6861955"/>
              <a:gd name="connsiteX4" fmla="*/ 0 w 9948162"/>
              <a:gd name="connsiteY4" fmla="*/ 4891430 h 6861955"/>
              <a:gd name="connsiteX5" fmla="*/ 6838362 w 9948162"/>
              <a:gd name="connsiteY5" fmla="*/ 4893372 h 6861955"/>
              <a:gd name="connsiteX6" fmla="*/ 6843930 w 9948162"/>
              <a:gd name="connsiteY6" fmla="*/ 5833095 h 6861955"/>
              <a:gd name="connsiteX7" fmla="*/ 7777800 w 9948162"/>
              <a:gd name="connsiteY7" fmla="*/ 5833002 h 6861955"/>
              <a:gd name="connsiteX8" fmla="*/ 7773304 w 9948162"/>
              <a:gd name="connsiteY8" fmla="*/ 4892516 h 6861955"/>
              <a:gd name="connsiteX9" fmla="*/ 26921 w 9948162"/>
              <a:gd name="connsiteY9" fmla="*/ 0 h 6861955"/>
              <a:gd name="connsiteX10" fmla="*/ 9948162 w 9948162"/>
              <a:gd name="connsiteY10" fmla="*/ 0 h 6861955"/>
              <a:gd name="connsiteX11" fmla="*/ 9932479 w 9948162"/>
              <a:gd name="connsiteY11" fmla="*/ 2093116 h 6861955"/>
              <a:gd name="connsiteX12" fmla="*/ 11238 w 9948162"/>
              <a:gd name="connsiteY12" fmla="*/ 2091564 h 6861955"/>
              <a:gd name="connsiteX13" fmla="*/ 26921 w 9948162"/>
              <a:gd name="connsiteY13" fmla="*/ 0 h 6861955"/>
              <a:gd name="connsiteX0" fmla="*/ 7773304 w 9948162"/>
              <a:gd name="connsiteY0" fmla="*/ 4892516 h 6864841"/>
              <a:gd name="connsiteX1" fmla="*/ 9942007 w 9948162"/>
              <a:gd name="connsiteY1" fmla="*/ 4898356 h 6864841"/>
              <a:gd name="connsiteX2" fmla="*/ 9932480 w 9948162"/>
              <a:gd name="connsiteY2" fmla="*/ 6861955 h 6864841"/>
              <a:gd name="connsiteX3" fmla="*/ 3619 w 9948162"/>
              <a:gd name="connsiteY3" fmla="*/ 6846275 h 6864841"/>
              <a:gd name="connsiteX4" fmla="*/ 0 w 9948162"/>
              <a:gd name="connsiteY4" fmla="*/ 4891430 h 6864841"/>
              <a:gd name="connsiteX5" fmla="*/ 6838362 w 9948162"/>
              <a:gd name="connsiteY5" fmla="*/ 4893372 h 6864841"/>
              <a:gd name="connsiteX6" fmla="*/ 6843930 w 9948162"/>
              <a:gd name="connsiteY6" fmla="*/ 5833095 h 6864841"/>
              <a:gd name="connsiteX7" fmla="*/ 7777800 w 9948162"/>
              <a:gd name="connsiteY7" fmla="*/ 5833002 h 6864841"/>
              <a:gd name="connsiteX8" fmla="*/ 7773304 w 9948162"/>
              <a:gd name="connsiteY8" fmla="*/ 4892516 h 6864841"/>
              <a:gd name="connsiteX9" fmla="*/ 26921 w 9948162"/>
              <a:gd name="connsiteY9" fmla="*/ 0 h 6864841"/>
              <a:gd name="connsiteX10" fmla="*/ 9948162 w 9948162"/>
              <a:gd name="connsiteY10" fmla="*/ 0 h 6864841"/>
              <a:gd name="connsiteX11" fmla="*/ 9932479 w 9948162"/>
              <a:gd name="connsiteY11" fmla="*/ 2093116 h 6864841"/>
              <a:gd name="connsiteX12" fmla="*/ 11238 w 9948162"/>
              <a:gd name="connsiteY12" fmla="*/ 2091564 h 6864841"/>
              <a:gd name="connsiteX13" fmla="*/ 26921 w 9948162"/>
              <a:gd name="connsiteY13" fmla="*/ 0 h 6864841"/>
              <a:gd name="connsiteX0" fmla="*/ 7773304 w 9948162"/>
              <a:gd name="connsiteY0" fmla="*/ 4892516 h 6864841"/>
              <a:gd name="connsiteX1" fmla="*/ 9942007 w 9948162"/>
              <a:gd name="connsiteY1" fmla="*/ 4898356 h 6864841"/>
              <a:gd name="connsiteX2" fmla="*/ 9932480 w 9948162"/>
              <a:gd name="connsiteY2" fmla="*/ 6861955 h 6864841"/>
              <a:gd name="connsiteX3" fmla="*/ 3619 w 9948162"/>
              <a:gd name="connsiteY3" fmla="*/ 6846275 h 6864841"/>
              <a:gd name="connsiteX4" fmla="*/ 0 w 9948162"/>
              <a:gd name="connsiteY4" fmla="*/ 4891430 h 6864841"/>
              <a:gd name="connsiteX5" fmla="*/ 6838362 w 9948162"/>
              <a:gd name="connsiteY5" fmla="*/ 4893372 h 6864841"/>
              <a:gd name="connsiteX6" fmla="*/ 6843930 w 9948162"/>
              <a:gd name="connsiteY6" fmla="*/ 5833095 h 6864841"/>
              <a:gd name="connsiteX7" fmla="*/ 7777800 w 9948162"/>
              <a:gd name="connsiteY7" fmla="*/ 5833002 h 6864841"/>
              <a:gd name="connsiteX8" fmla="*/ 7773304 w 9948162"/>
              <a:gd name="connsiteY8" fmla="*/ 4892516 h 6864841"/>
              <a:gd name="connsiteX9" fmla="*/ 26921 w 9948162"/>
              <a:gd name="connsiteY9" fmla="*/ 0 h 6864841"/>
              <a:gd name="connsiteX10" fmla="*/ 9948162 w 9948162"/>
              <a:gd name="connsiteY10" fmla="*/ 0 h 6864841"/>
              <a:gd name="connsiteX11" fmla="*/ 9932479 w 9948162"/>
              <a:gd name="connsiteY11" fmla="*/ 2093116 h 6864841"/>
              <a:gd name="connsiteX12" fmla="*/ 11238 w 9948162"/>
              <a:gd name="connsiteY12" fmla="*/ 2091564 h 6864841"/>
              <a:gd name="connsiteX13" fmla="*/ 26921 w 9948162"/>
              <a:gd name="connsiteY13" fmla="*/ 0 h 6864841"/>
              <a:gd name="connsiteX0" fmla="*/ 7773304 w 9948162"/>
              <a:gd name="connsiteY0" fmla="*/ 4892516 h 6864841"/>
              <a:gd name="connsiteX1" fmla="*/ 9942007 w 9948162"/>
              <a:gd name="connsiteY1" fmla="*/ 4898356 h 6864841"/>
              <a:gd name="connsiteX2" fmla="*/ 9932480 w 9948162"/>
              <a:gd name="connsiteY2" fmla="*/ 6861955 h 6864841"/>
              <a:gd name="connsiteX3" fmla="*/ 3619 w 9948162"/>
              <a:gd name="connsiteY3" fmla="*/ 6846275 h 6864841"/>
              <a:gd name="connsiteX4" fmla="*/ 0 w 9948162"/>
              <a:gd name="connsiteY4" fmla="*/ 4891430 h 6864841"/>
              <a:gd name="connsiteX5" fmla="*/ 6666857 w 9948162"/>
              <a:gd name="connsiteY5" fmla="*/ 5210872 h 6864841"/>
              <a:gd name="connsiteX6" fmla="*/ 6843930 w 9948162"/>
              <a:gd name="connsiteY6" fmla="*/ 5833095 h 6864841"/>
              <a:gd name="connsiteX7" fmla="*/ 7777800 w 9948162"/>
              <a:gd name="connsiteY7" fmla="*/ 5833002 h 6864841"/>
              <a:gd name="connsiteX8" fmla="*/ 7773304 w 9948162"/>
              <a:gd name="connsiteY8" fmla="*/ 4892516 h 6864841"/>
              <a:gd name="connsiteX9" fmla="*/ 26921 w 9948162"/>
              <a:gd name="connsiteY9" fmla="*/ 0 h 6864841"/>
              <a:gd name="connsiteX10" fmla="*/ 9948162 w 9948162"/>
              <a:gd name="connsiteY10" fmla="*/ 0 h 6864841"/>
              <a:gd name="connsiteX11" fmla="*/ 9932479 w 9948162"/>
              <a:gd name="connsiteY11" fmla="*/ 2093116 h 6864841"/>
              <a:gd name="connsiteX12" fmla="*/ 11238 w 9948162"/>
              <a:gd name="connsiteY12" fmla="*/ 2091564 h 6864841"/>
              <a:gd name="connsiteX13" fmla="*/ 26921 w 9948162"/>
              <a:gd name="connsiteY13" fmla="*/ 0 h 6864841"/>
              <a:gd name="connsiteX0" fmla="*/ 7773304 w 9948162"/>
              <a:gd name="connsiteY0" fmla="*/ 4892516 h 6864841"/>
              <a:gd name="connsiteX1" fmla="*/ 9942007 w 9948162"/>
              <a:gd name="connsiteY1" fmla="*/ 4898356 h 6864841"/>
              <a:gd name="connsiteX2" fmla="*/ 9932480 w 9948162"/>
              <a:gd name="connsiteY2" fmla="*/ 6861955 h 6864841"/>
              <a:gd name="connsiteX3" fmla="*/ 3619 w 9948162"/>
              <a:gd name="connsiteY3" fmla="*/ 6846275 h 6864841"/>
              <a:gd name="connsiteX4" fmla="*/ 0 w 9948162"/>
              <a:gd name="connsiteY4" fmla="*/ 4891430 h 6864841"/>
              <a:gd name="connsiteX5" fmla="*/ 6838362 w 9948162"/>
              <a:gd name="connsiteY5" fmla="*/ 4899722 h 6864841"/>
              <a:gd name="connsiteX6" fmla="*/ 6843930 w 9948162"/>
              <a:gd name="connsiteY6" fmla="*/ 5833095 h 6864841"/>
              <a:gd name="connsiteX7" fmla="*/ 7777800 w 9948162"/>
              <a:gd name="connsiteY7" fmla="*/ 5833002 h 6864841"/>
              <a:gd name="connsiteX8" fmla="*/ 7773304 w 9948162"/>
              <a:gd name="connsiteY8" fmla="*/ 4892516 h 6864841"/>
              <a:gd name="connsiteX9" fmla="*/ 26921 w 9948162"/>
              <a:gd name="connsiteY9" fmla="*/ 0 h 6864841"/>
              <a:gd name="connsiteX10" fmla="*/ 9948162 w 9948162"/>
              <a:gd name="connsiteY10" fmla="*/ 0 h 6864841"/>
              <a:gd name="connsiteX11" fmla="*/ 9932479 w 9948162"/>
              <a:gd name="connsiteY11" fmla="*/ 2093116 h 6864841"/>
              <a:gd name="connsiteX12" fmla="*/ 11238 w 9948162"/>
              <a:gd name="connsiteY12" fmla="*/ 2091564 h 6864841"/>
              <a:gd name="connsiteX13" fmla="*/ 26921 w 9948162"/>
              <a:gd name="connsiteY13" fmla="*/ 0 h 6864841"/>
              <a:gd name="connsiteX0" fmla="*/ 7776480 w 9948162"/>
              <a:gd name="connsiteY0" fmla="*/ 4898866 h 6864841"/>
              <a:gd name="connsiteX1" fmla="*/ 9942007 w 9948162"/>
              <a:gd name="connsiteY1" fmla="*/ 4898356 h 6864841"/>
              <a:gd name="connsiteX2" fmla="*/ 9932480 w 9948162"/>
              <a:gd name="connsiteY2" fmla="*/ 6861955 h 6864841"/>
              <a:gd name="connsiteX3" fmla="*/ 3619 w 9948162"/>
              <a:gd name="connsiteY3" fmla="*/ 6846275 h 6864841"/>
              <a:gd name="connsiteX4" fmla="*/ 0 w 9948162"/>
              <a:gd name="connsiteY4" fmla="*/ 4891430 h 6864841"/>
              <a:gd name="connsiteX5" fmla="*/ 6838362 w 9948162"/>
              <a:gd name="connsiteY5" fmla="*/ 4899722 h 6864841"/>
              <a:gd name="connsiteX6" fmla="*/ 6843930 w 9948162"/>
              <a:gd name="connsiteY6" fmla="*/ 5833095 h 6864841"/>
              <a:gd name="connsiteX7" fmla="*/ 7777800 w 9948162"/>
              <a:gd name="connsiteY7" fmla="*/ 5833002 h 6864841"/>
              <a:gd name="connsiteX8" fmla="*/ 7776480 w 9948162"/>
              <a:gd name="connsiteY8" fmla="*/ 4898866 h 6864841"/>
              <a:gd name="connsiteX9" fmla="*/ 26921 w 9948162"/>
              <a:gd name="connsiteY9" fmla="*/ 0 h 6864841"/>
              <a:gd name="connsiteX10" fmla="*/ 9948162 w 9948162"/>
              <a:gd name="connsiteY10" fmla="*/ 0 h 6864841"/>
              <a:gd name="connsiteX11" fmla="*/ 9932479 w 9948162"/>
              <a:gd name="connsiteY11" fmla="*/ 2093116 h 6864841"/>
              <a:gd name="connsiteX12" fmla="*/ 11238 w 9948162"/>
              <a:gd name="connsiteY12" fmla="*/ 2091564 h 6864841"/>
              <a:gd name="connsiteX13" fmla="*/ 26921 w 9948162"/>
              <a:gd name="connsiteY13" fmla="*/ 0 h 6864841"/>
              <a:gd name="connsiteX0" fmla="*/ 7776480 w 9948162"/>
              <a:gd name="connsiteY0" fmla="*/ 4898866 h 6864841"/>
              <a:gd name="connsiteX1" fmla="*/ 9942007 w 9948162"/>
              <a:gd name="connsiteY1" fmla="*/ 4898356 h 6864841"/>
              <a:gd name="connsiteX2" fmla="*/ 9932480 w 9948162"/>
              <a:gd name="connsiteY2" fmla="*/ 6861955 h 6864841"/>
              <a:gd name="connsiteX3" fmla="*/ 3619 w 9948162"/>
              <a:gd name="connsiteY3" fmla="*/ 6846275 h 6864841"/>
              <a:gd name="connsiteX4" fmla="*/ 0 w 9948162"/>
              <a:gd name="connsiteY4" fmla="*/ 4897780 h 6864841"/>
              <a:gd name="connsiteX5" fmla="*/ 6838362 w 9948162"/>
              <a:gd name="connsiteY5" fmla="*/ 4899722 h 6864841"/>
              <a:gd name="connsiteX6" fmla="*/ 6843930 w 9948162"/>
              <a:gd name="connsiteY6" fmla="*/ 5833095 h 6864841"/>
              <a:gd name="connsiteX7" fmla="*/ 7777800 w 9948162"/>
              <a:gd name="connsiteY7" fmla="*/ 5833002 h 6864841"/>
              <a:gd name="connsiteX8" fmla="*/ 7776480 w 9948162"/>
              <a:gd name="connsiteY8" fmla="*/ 4898866 h 6864841"/>
              <a:gd name="connsiteX9" fmla="*/ 26921 w 9948162"/>
              <a:gd name="connsiteY9" fmla="*/ 0 h 6864841"/>
              <a:gd name="connsiteX10" fmla="*/ 9948162 w 9948162"/>
              <a:gd name="connsiteY10" fmla="*/ 0 h 6864841"/>
              <a:gd name="connsiteX11" fmla="*/ 9932479 w 9948162"/>
              <a:gd name="connsiteY11" fmla="*/ 2093116 h 6864841"/>
              <a:gd name="connsiteX12" fmla="*/ 11238 w 9948162"/>
              <a:gd name="connsiteY12" fmla="*/ 2091564 h 6864841"/>
              <a:gd name="connsiteX13" fmla="*/ 26921 w 9948162"/>
              <a:gd name="connsiteY13" fmla="*/ 0 h 686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48162" h="6864841">
                <a:moveTo>
                  <a:pt x="7776480" y="4898866"/>
                </a:moveTo>
                <a:lnTo>
                  <a:pt x="9942007" y="4898356"/>
                </a:lnTo>
                <a:cubicBezTo>
                  <a:pt x="9943066" y="5610707"/>
                  <a:pt x="9931422" y="6870880"/>
                  <a:pt x="9932480" y="6861955"/>
                </a:cubicBezTo>
                <a:cubicBezTo>
                  <a:pt x="9932048" y="6872408"/>
                  <a:pt x="3313239" y="6851502"/>
                  <a:pt x="3619" y="6846275"/>
                </a:cubicBezTo>
                <a:cubicBezTo>
                  <a:pt x="2413" y="6158074"/>
                  <a:pt x="1206" y="5585981"/>
                  <a:pt x="0" y="4897780"/>
                </a:cubicBezTo>
                <a:lnTo>
                  <a:pt x="6838362" y="4899722"/>
                </a:lnTo>
                <a:cubicBezTo>
                  <a:pt x="6840388" y="5221297"/>
                  <a:pt x="6841904" y="5511520"/>
                  <a:pt x="6843930" y="5833095"/>
                </a:cubicBezTo>
                <a:lnTo>
                  <a:pt x="7777800" y="5833002"/>
                </a:lnTo>
                <a:cubicBezTo>
                  <a:pt x="7775559" y="5508751"/>
                  <a:pt x="7778721" y="5223117"/>
                  <a:pt x="7776480" y="4898866"/>
                </a:cubicBezTo>
                <a:close/>
                <a:moveTo>
                  <a:pt x="26921" y="0"/>
                </a:moveTo>
                <a:lnTo>
                  <a:pt x="9948162" y="0"/>
                </a:lnTo>
                <a:lnTo>
                  <a:pt x="9932479" y="2093116"/>
                </a:lnTo>
                <a:lnTo>
                  <a:pt x="11238" y="2091564"/>
                </a:lnTo>
                <a:lnTo>
                  <a:pt x="26921" y="0"/>
                </a:lnTo>
                <a:close/>
              </a:path>
            </a:pathLst>
          </a:custGeom>
          <a:solidFill>
            <a:schemeClr val="bg1"/>
          </a:solidFill>
          <a:ln w="10795" cap="flat" cmpd="sng" algn="ctr">
            <a:noFill/>
            <a:prstDash val="solid"/>
            <a:round/>
            <a:headEnd type="none" w="med" len="med"/>
            <a:tailEnd type="triangle" w="med" len="med"/>
          </a:ln>
          <a:effectLst/>
        </p:spPr>
        <p:txBody>
          <a:bodyPr vert="horz" wrap="square" lIns="91418" tIns="45709" rIns="91418" bIns="45709" numCol="1" rtlCol="0" anchor="t" anchorCtr="0" compatLnSpc="1">
            <a:prstTxWarp prst="textNoShape">
              <a:avLst/>
            </a:prstTxWarp>
          </a:bodyPr>
          <a:lstStyle/>
          <a:p>
            <a:endParaRPr lang="de-DE" sz="1800">
              <a:solidFill>
                <a:srgbClr val="000000"/>
              </a:solidFill>
            </a:endParaRPr>
          </a:p>
        </p:txBody>
      </p:sp>
      <p:graphicFrame>
        <p:nvGraphicFramePr>
          <p:cNvPr id="2" name="Objekt 1" hidden="1"/>
          <p:cNvGraphicFramePr>
            <a:graphicFrameLocks noChangeAspect="1"/>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45"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0" y="0"/>
                        <a:ext cx="158750" cy="158750"/>
                      </a:xfrm>
                      <a:prstGeom prst="rect">
                        <a:avLst/>
                      </a:prstGeom>
                    </p:spPr>
                  </p:pic>
                </p:oleObj>
              </mc:Fallback>
            </mc:AlternateContent>
          </a:graphicData>
        </a:graphic>
      </p:graphicFrame>
      <p:grpSp>
        <p:nvGrpSpPr>
          <p:cNvPr id="4" name="Gruppierung 3"/>
          <p:cNvGrpSpPr/>
          <p:nvPr userDrawn="1"/>
        </p:nvGrpSpPr>
        <p:grpSpPr>
          <a:xfrm>
            <a:off x="4953511" y="2104426"/>
            <a:ext cx="3740882" cy="3743076"/>
            <a:chOff x="3923006" y="1854428"/>
            <a:chExt cx="3739683" cy="3743076"/>
          </a:xfrm>
        </p:grpSpPr>
        <p:sp>
          <p:nvSpPr>
            <p:cNvPr id="16" name="Rechteck 15"/>
            <p:cNvSpPr/>
            <p:nvPr/>
          </p:nvSpPr>
          <p:spPr bwMode="auto">
            <a:xfrm>
              <a:off x="4859681" y="3725245"/>
              <a:ext cx="936000" cy="936000"/>
            </a:xfrm>
            <a:prstGeom prst="rect">
              <a:avLst/>
            </a:prstGeom>
            <a:solidFill>
              <a:srgbClr val="0069B4">
                <a:alpha val="50000"/>
              </a:srgbClr>
            </a:solidFill>
            <a:ln w="10795"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endParaRPr lang="de-DE" sz="1800">
                <a:solidFill>
                  <a:srgbClr val="000000"/>
                </a:solidFill>
              </a:endParaRPr>
            </a:p>
          </p:txBody>
        </p:sp>
        <p:sp>
          <p:nvSpPr>
            <p:cNvPr id="17" name="Rechteck 16"/>
            <p:cNvSpPr/>
            <p:nvPr/>
          </p:nvSpPr>
          <p:spPr bwMode="auto">
            <a:xfrm>
              <a:off x="5793185" y="3725245"/>
              <a:ext cx="936000" cy="936000"/>
            </a:xfrm>
            <a:prstGeom prst="rect">
              <a:avLst/>
            </a:prstGeom>
            <a:solidFill>
              <a:schemeClr val="bg1">
                <a:alpha val="71000"/>
              </a:schemeClr>
            </a:solidFill>
            <a:ln w="10795"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endParaRPr lang="de-DE" sz="1800">
                <a:solidFill>
                  <a:srgbClr val="000000"/>
                </a:solidFill>
              </a:endParaRPr>
            </a:p>
          </p:txBody>
        </p:sp>
        <p:sp>
          <p:nvSpPr>
            <p:cNvPr id="18" name="Rechteck 17"/>
            <p:cNvSpPr/>
            <p:nvPr/>
          </p:nvSpPr>
          <p:spPr bwMode="auto">
            <a:xfrm>
              <a:off x="6726689" y="3725245"/>
              <a:ext cx="936000" cy="936000"/>
            </a:xfrm>
            <a:prstGeom prst="rect">
              <a:avLst/>
            </a:prstGeom>
            <a:solidFill>
              <a:srgbClr val="FFFFFF">
                <a:alpha val="32000"/>
              </a:srgbClr>
            </a:solidFill>
            <a:ln w="10795"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endParaRPr lang="de-DE" sz="1800">
                <a:solidFill>
                  <a:srgbClr val="000000"/>
                </a:solidFill>
              </a:endParaRPr>
            </a:p>
          </p:txBody>
        </p:sp>
        <p:sp>
          <p:nvSpPr>
            <p:cNvPr id="19" name="Rechteck 18"/>
            <p:cNvSpPr/>
            <p:nvPr/>
          </p:nvSpPr>
          <p:spPr bwMode="auto">
            <a:xfrm>
              <a:off x="3923006" y="2790562"/>
              <a:ext cx="936000" cy="936000"/>
            </a:xfrm>
            <a:prstGeom prst="rect">
              <a:avLst/>
            </a:prstGeom>
            <a:solidFill>
              <a:srgbClr val="66A5D2">
                <a:alpha val="91000"/>
              </a:srgbClr>
            </a:solidFill>
            <a:ln w="10795"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endParaRPr lang="de-DE" sz="1800">
                <a:solidFill>
                  <a:srgbClr val="000000"/>
                </a:solidFill>
              </a:endParaRPr>
            </a:p>
          </p:txBody>
        </p:sp>
        <p:sp>
          <p:nvSpPr>
            <p:cNvPr id="20" name="Rechteck 19"/>
            <p:cNvSpPr/>
            <p:nvPr/>
          </p:nvSpPr>
          <p:spPr bwMode="auto">
            <a:xfrm>
              <a:off x="4858577" y="2790562"/>
              <a:ext cx="936000" cy="936000"/>
            </a:xfrm>
            <a:prstGeom prst="rect">
              <a:avLst/>
            </a:prstGeom>
            <a:solidFill>
              <a:srgbClr val="0069B4">
                <a:alpha val="82000"/>
              </a:srgbClr>
            </a:solidFill>
            <a:ln w="10795"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endParaRPr lang="de-DE" sz="1800">
                <a:solidFill>
                  <a:srgbClr val="000000"/>
                </a:solidFill>
              </a:endParaRPr>
            </a:p>
          </p:txBody>
        </p:sp>
        <p:sp>
          <p:nvSpPr>
            <p:cNvPr id="22" name="Rechteck 21"/>
            <p:cNvSpPr/>
            <p:nvPr/>
          </p:nvSpPr>
          <p:spPr bwMode="auto">
            <a:xfrm>
              <a:off x="5793122" y="2790562"/>
              <a:ext cx="936000" cy="936000"/>
            </a:xfrm>
            <a:prstGeom prst="rect">
              <a:avLst/>
            </a:prstGeom>
            <a:solidFill>
              <a:srgbClr val="66A5D2">
                <a:alpha val="82000"/>
              </a:srgbClr>
            </a:solidFill>
            <a:ln w="10795"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endParaRPr lang="de-DE" sz="1800">
                <a:solidFill>
                  <a:srgbClr val="66A5D2"/>
                </a:solidFill>
              </a:endParaRPr>
            </a:p>
          </p:txBody>
        </p:sp>
        <p:sp>
          <p:nvSpPr>
            <p:cNvPr id="23" name="Rechteck 22"/>
            <p:cNvSpPr/>
            <p:nvPr/>
          </p:nvSpPr>
          <p:spPr bwMode="auto">
            <a:xfrm>
              <a:off x="4858769" y="1854428"/>
              <a:ext cx="936000" cy="936000"/>
            </a:xfrm>
            <a:prstGeom prst="rect">
              <a:avLst/>
            </a:prstGeom>
            <a:solidFill>
              <a:srgbClr val="66A5D2">
                <a:alpha val="80000"/>
              </a:srgbClr>
            </a:solidFill>
            <a:ln w="10795"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endParaRPr lang="de-DE" sz="1800">
                <a:solidFill>
                  <a:srgbClr val="000000"/>
                </a:solidFill>
              </a:endParaRPr>
            </a:p>
          </p:txBody>
        </p:sp>
        <p:sp>
          <p:nvSpPr>
            <p:cNvPr id="24" name="Rechteck 23"/>
            <p:cNvSpPr/>
            <p:nvPr/>
          </p:nvSpPr>
          <p:spPr bwMode="auto">
            <a:xfrm>
              <a:off x="5792420" y="4661504"/>
              <a:ext cx="936000" cy="936000"/>
            </a:xfrm>
            <a:prstGeom prst="rect">
              <a:avLst/>
            </a:prstGeom>
            <a:solidFill>
              <a:srgbClr val="FFFFFF">
                <a:alpha val="32000"/>
              </a:srgbClr>
            </a:solidFill>
            <a:ln w="10795"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endParaRPr lang="de-DE" sz="1800">
                <a:solidFill>
                  <a:srgbClr val="000000"/>
                </a:solidFill>
              </a:endParaRPr>
            </a:p>
          </p:txBody>
        </p:sp>
      </p:grpSp>
      <p:sp>
        <p:nvSpPr>
          <p:cNvPr id="36" name="Textplatzhalter 24"/>
          <p:cNvSpPr>
            <a:spLocks noGrp="1"/>
          </p:cNvSpPr>
          <p:nvPr>
            <p:ph type="body" sz="quarter" idx="12" hasCustomPrompt="1"/>
          </p:nvPr>
        </p:nvSpPr>
        <p:spPr>
          <a:xfrm>
            <a:off x="360115" y="5610509"/>
            <a:ext cx="5113639" cy="215935"/>
          </a:xfrm>
        </p:spPr>
        <p:txBody>
          <a:bodyPr/>
          <a:lstStyle>
            <a:lvl1pPr marL="0" indent="0">
              <a:buNone/>
              <a:defRPr sz="1800">
                <a:solidFill>
                  <a:srgbClr val="00549F"/>
                </a:solidFill>
              </a:defRPr>
            </a:lvl1pPr>
          </a:lstStyle>
          <a:p>
            <a:pPr lvl="0"/>
            <a:r>
              <a:rPr lang="de-DE" dirty="0" err="1"/>
              <a:t>Subline</a:t>
            </a:r>
            <a:r>
              <a:rPr lang="de-DE" dirty="0"/>
              <a:t> (optional)</a:t>
            </a:r>
          </a:p>
        </p:txBody>
      </p:sp>
      <p:sp>
        <p:nvSpPr>
          <p:cNvPr id="12" name="Titel 11"/>
          <p:cNvSpPr>
            <a:spLocks noGrp="1"/>
          </p:cNvSpPr>
          <p:nvPr>
            <p:ph type="title" hasCustomPrompt="1"/>
          </p:nvPr>
        </p:nvSpPr>
        <p:spPr>
          <a:xfrm>
            <a:off x="360122" y="4970716"/>
            <a:ext cx="5099613" cy="586800"/>
          </a:xfrm>
        </p:spPr>
        <p:txBody>
          <a:bodyPr anchor="b"/>
          <a:lstStyle/>
          <a:p>
            <a:r>
              <a:rPr lang="de-DE" dirty="0"/>
              <a:t>Headline</a:t>
            </a:r>
          </a:p>
        </p:txBody>
      </p:sp>
      <p:sp>
        <p:nvSpPr>
          <p:cNvPr id="29" name="Textfeld 28"/>
          <p:cNvSpPr txBox="1"/>
          <p:nvPr userDrawn="1"/>
        </p:nvSpPr>
        <p:spPr>
          <a:xfrm>
            <a:off x="278250" y="4701252"/>
            <a:ext cx="1626728" cy="200033"/>
          </a:xfrm>
          <a:prstGeom prst="rect">
            <a:avLst/>
          </a:prstGeom>
          <a:noFill/>
        </p:spPr>
        <p:txBody>
          <a:bodyPr wrap="square" lIns="91418" tIns="45709" rIns="91418" bIns="45709" rtlCol="0">
            <a:spAutoFit/>
          </a:bodyPr>
          <a:lstStyle/>
          <a:p>
            <a:r>
              <a:rPr lang="de-DE" sz="700" dirty="0">
                <a:solidFill>
                  <a:srgbClr val="FFFFFF"/>
                </a:solidFill>
                <a:latin typeface="Arial"/>
              </a:rPr>
              <a:t>WBA</a:t>
            </a:r>
          </a:p>
        </p:txBody>
      </p:sp>
      <p:pic>
        <p:nvPicPr>
          <p:cNvPr id="25" name="Bild 24"/>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54850" y="338400"/>
            <a:ext cx="3165190" cy="1281600"/>
          </a:xfrm>
          <a:prstGeom prst="rect">
            <a:avLst/>
          </a:prstGeom>
        </p:spPr>
      </p:pic>
    </p:spTree>
    <p:extLst>
      <p:ext uri="{BB962C8B-B14F-4D97-AF65-F5344CB8AC3E}">
        <p14:creationId xmlns:p14="http://schemas.microsoft.com/office/powerpoint/2010/main" val="26130264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4009517982"/>
              </p:ext>
            </p:extLst>
          </p:nvPr>
        </p:nvGraphicFramePr>
        <p:xfrm>
          <a:off x="1593" y="1598"/>
          <a:ext cx="1587" cy="1587"/>
        </p:xfrm>
        <a:graphic>
          <a:graphicData uri="http://schemas.openxmlformats.org/presentationml/2006/ole">
            <mc:AlternateContent xmlns:mc="http://schemas.openxmlformats.org/markup-compatibility/2006">
              <mc:Choice xmlns:v="urn:schemas-microsoft-com:vml" Requires="v">
                <p:oleObj spid="_x0000_s3169" name="think-cell Folie" r:id="rId4" imgW="360" imgH="360" progId="TCLayout.ActiveDocument.1">
                  <p:embed/>
                </p:oleObj>
              </mc:Choice>
              <mc:Fallback>
                <p:oleObj name="think-cell Folie" r:id="rId4" imgW="360" imgH="360" progId="TCLayout.ActiveDocument.1">
                  <p:embed/>
                  <p:pic>
                    <p:nvPicPr>
                      <p:cNvPr id="2" name="Objekt 1" hidden="1"/>
                      <p:cNvPicPr/>
                      <p:nvPr/>
                    </p:nvPicPr>
                    <p:blipFill>
                      <a:blip r:embed="rId5"/>
                      <a:stretch>
                        <a:fillRect/>
                      </a:stretch>
                    </p:blipFill>
                    <p:spPr>
                      <a:xfrm>
                        <a:off x="1593" y="1598"/>
                        <a:ext cx="1587" cy="1587"/>
                      </a:xfrm>
                      <a:prstGeom prst="rect">
                        <a:avLst/>
                      </a:prstGeom>
                    </p:spPr>
                  </p:pic>
                </p:oleObj>
              </mc:Fallback>
            </mc:AlternateContent>
          </a:graphicData>
        </a:graphic>
      </p:graphicFrame>
      <p:sp>
        <p:nvSpPr>
          <p:cNvPr id="4" name="Inhaltsplatzhalter 2"/>
          <p:cNvSpPr>
            <a:spLocks noGrp="1"/>
          </p:cNvSpPr>
          <p:nvPr>
            <p:ph sz="half" idx="1"/>
          </p:nvPr>
        </p:nvSpPr>
        <p:spPr>
          <a:xfrm>
            <a:off x="360479" y="1631278"/>
            <a:ext cx="9181868" cy="4815263"/>
          </a:xfrm>
        </p:spPr>
        <p:txBody>
          <a:bodyPr/>
          <a:lstStyle>
            <a:lvl1pPr>
              <a:buClrTx/>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e-DE" dirty="0"/>
              <a:t>Mastertextformat bearbeiten</a:t>
            </a:r>
          </a:p>
          <a:p>
            <a:pPr lvl="1"/>
            <a:r>
              <a:rPr lang="de-DE" dirty="0"/>
              <a:t>Zweite Ebene</a:t>
            </a:r>
          </a:p>
          <a:p>
            <a:pPr lvl="2"/>
            <a:r>
              <a:rPr lang="de-DE" dirty="0"/>
              <a:t>Dritte Ebene</a:t>
            </a:r>
          </a:p>
        </p:txBody>
      </p:sp>
      <p:sp>
        <p:nvSpPr>
          <p:cNvPr id="7" name="Titel 6"/>
          <p:cNvSpPr>
            <a:spLocks noGrp="1"/>
          </p:cNvSpPr>
          <p:nvPr>
            <p:ph type="title" hasCustomPrompt="1"/>
          </p:nvPr>
        </p:nvSpPr>
        <p:spPr>
          <a:xfrm>
            <a:off x="360482" y="486009"/>
            <a:ext cx="7818106" cy="566513"/>
          </a:xfrm>
        </p:spPr>
        <p:txBody>
          <a:bodyPr/>
          <a:lstStyle>
            <a:lvl1pPr>
              <a:defRPr>
                <a:solidFill>
                  <a:srgbClr val="00549F"/>
                </a:solidFill>
              </a:defRPr>
            </a:lvl1pPr>
          </a:lstStyle>
          <a:p>
            <a:r>
              <a:rPr lang="de-DE" dirty="0"/>
              <a:t>Headline</a:t>
            </a:r>
          </a:p>
        </p:txBody>
      </p:sp>
    </p:spTree>
    <p:extLst>
      <p:ext uri="{BB962C8B-B14F-4D97-AF65-F5344CB8AC3E}">
        <p14:creationId xmlns:p14="http://schemas.microsoft.com/office/powerpoint/2010/main" val="161200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Nur Titel ">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273015271"/>
              </p:ext>
            </p:extLst>
          </p:nvPr>
        </p:nvGraphicFramePr>
        <p:xfrm>
          <a:off x="1593" y="1598"/>
          <a:ext cx="1587" cy="1587"/>
        </p:xfrm>
        <a:graphic>
          <a:graphicData uri="http://schemas.openxmlformats.org/presentationml/2006/ole">
            <mc:AlternateContent xmlns:mc="http://schemas.openxmlformats.org/markup-compatibility/2006">
              <mc:Choice xmlns:v="urn:schemas-microsoft-com:vml" Requires="v">
                <p:oleObj spid="_x0000_s4193" name="think-cell Folie" r:id="rId4" imgW="360" imgH="360" progId="TCLayout.ActiveDocument.1">
                  <p:embed/>
                </p:oleObj>
              </mc:Choice>
              <mc:Fallback>
                <p:oleObj name="think-cell Folie" r:id="rId4" imgW="360" imgH="360" progId="TCLayout.ActiveDocument.1">
                  <p:embed/>
                  <p:pic>
                    <p:nvPicPr>
                      <p:cNvPr id="2" name="Objekt 1" hidden="1"/>
                      <p:cNvPicPr/>
                      <p:nvPr/>
                    </p:nvPicPr>
                    <p:blipFill>
                      <a:blip r:embed="rId5"/>
                      <a:stretch>
                        <a:fillRect/>
                      </a:stretch>
                    </p:blipFill>
                    <p:spPr>
                      <a:xfrm>
                        <a:off x="1593" y="1598"/>
                        <a:ext cx="1587" cy="1587"/>
                      </a:xfrm>
                      <a:prstGeom prst="rect">
                        <a:avLst/>
                      </a:prstGeom>
                    </p:spPr>
                  </p:pic>
                </p:oleObj>
              </mc:Fallback>
            </mc:AlternateContent>
          </a:graphicData>
        </a:graphic>
      </p:graphicFrame>
      <p:sp>
        <p:nvSpPr>
          <p:cNvPr id="7" name="Titel 6"/>
          <p:cNvSpPr>
            <a:spLocks noGrp="1"/>
          </p:cNvSpPr>
          <p:nvPr>
            <p:ph type="title" hasCustomPrompt="1"/>
          </p:nvPr>
        </p:nvSpPr>
        <p:spPr>
          <a:xfrm>
            <a:off x="359365" y="485499"/>
            <a:ext cx="7818106" cy="567025"/>
          </a:xfrm>
        </p:spPr>
        <p:txBody>
          <a:bodyPr/>
          <a:lstStyle>
            <a:lvl1pPr>
              <a:defRPr>
                <a:solidFill>
                  <a:srgbClr val="00549F"/>
                </a:solidFill>
              </a:defRPr>
            </a:lvl1pPr>
          </a:lstStyle>
          <a:p>
            <a:r>
              <a:rPr lang="de-DE" dirty="0"/>
              <a:t>Headline</a:t>
            </a:r>
          </a:p>
        </p:txBody>
      </p:sp>
    </p:spTree>
    <p:extLst>
      <p:ext uri="{BB962C8B-B14F-4D97-AF65-F5344CB8AC3E}">
        <p14:creationId xmlns:p14="http://schemas.microsoft.com/office/powerpoint/2010/main" val="10271813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3" name="Inhaltsplatzhalter 2"/>
          <p:cNvSpPr>
            <a:spLocks noGrp="1"/>
          </p:cNvSpPr>
          <p:nvPr>
            <p:ph sz="half" idx="1"/>
          </p:nvPr>
        </p:nvSpPr>
        <p:spPr>
          <a:xfrm>
            <a:off x="360116" y="1628780"/>
            <a:ext cx="4484331" cy="4819787"/>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e-DE" dirty="0"/>
              <a:t>Mastertextformat bearbeiten</a:t>
            </a:r>
          </a:p>
          <a:p>
            <a:pPr lvl="1"/>
            <a:r>
              <a:rPr lang="de-DE" dirty="0"/>
              <a:t>Zweite Ebene</a:t>
            </a:r>
          </a:p>
          <a:p>
            <a:pPr lvl="2"/>
            <a:r>
              <a:rPr lang="de-DE" dirty="0"/>
              <a:t>Dritte Ebene</a:t>
            </a:r>
          </a:p>
        </p:txBody>
      </p:sp>
      <p:sp>
        <p:nvSpPr>
          <p:cNvPr id="4" name="Inhaltsplatzhalter 2"/>
          <p:cNvSpPr>
            <a:spLocks noGrp="1"/>
          </p:cNvSpPr>
          <p:nvPr>
            <p:ph sz="half" idx="10"/>
          </p:nvPr>
        </p:nvSpPr>
        <p:spPr>
          <a:xfrm>
            <a:off x="5068834" y="1628780"/>
            <a:ext cx="4483437" cy="4819787"/>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e-DE" dirty="0"/>
              <a:t>Mastertextformat bearbeiten</a:t>
            </a:r>
          </a:p>
          <a:p>
            <a:pPr lvl="1"/>
            <a:r>
              <a:rPr lang="de-DE" dirty="0"/>
              <a:t>Zweite Ebene</a:t>
            </a:r>
          </a:p>
          <a:p>
            <a:pPr lvl="2"/>
            <a:r>
              <a:rPr lang="de-DE" dirty="0"/>
              <a:t>Dritte Ebene</a:t>
            </a:r>
          </a:p>
        </p:txBody>
      </p:sp>
      <p:sp>
        <p:nvSpPr>
          <p:cNvPr id="8" name="Titel 7"/>
          <p:cNvSpPr>
            <a:spLocks noGrp="1"/>
          </p:cNvSpPr>
          <p:nvPr>
            <p:ph type="title" hasCustomPrompt="1"/>
          </p:nvPr>
        </p:nvSpPr>
        <p:spPr>
          <a:xfrm>
            <a:off x="359365" y="485499"/>
            <a:ext cx="7818106" cy="567025"/>
          </a:xfrm>
        </p:spPr>
        <p:txBody>
          <a:bodyPr/>
          <a:lstStyle>
            <a:lvl1pPr>
              <a:defRPr>
                <a:solidFill>
                  <a:srgbClr val="00549F"/>
                </a:solidFill>
              </a:defRPr>
            </a:lvl1pPr>
          </a:lstStyle>
          <a:p>
            <a:r>
              <a:rPr lang="de-DE" dirty="0"/>
              <a:t>Headline</a:t>
            </a:r>
          </a:p>
        </p:txBody>
      </p:sp>
    </p:spTree>
    <p:extLst>
      <p:ext uri="{BB962C8B-B14F-4D97-AF65-F5344CB8AC3E}">
        <p14:creationId xmlns:p14="http://schemas.microsoft.com/office/powerpoint/2010/main" val="9985267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3 Inhalte">
    <p:spTree>
      <p:nvGrpSpPr>
        <p:cNvPr id="1" name=""/>
        <p:cNvGrpSpPr/>
        <p:nvPr/>
      </p:nvGrpSpPr>
      <p:grpSpPr>
        <a:xfrm>
          <a:off x="0" y="0"/>
          <a:ext cx="0" cy="0"/>
          <a:chOff x="0" y="0"/>
          <a:chExt cx="0" cy="0"/>
        </a:xfrm>
      </p:grpSpPr>
      <p:sp>
        <p:nvSpPr>
          <p:cNvPr id="4" name="Inhaltsplatzhalter 2"/>
          <p:cNvSpPr>
            <a:spLocks noGrp="1"/>
          </p:cNvSpPr>
          <p:nvPr>
            <p:ph sz="half" idx="1"/>
          </p:nvPr>
        </p:nvSpPr>
        <p:spPr>
          <a:xfrm>
            <a:off x="360116" y="1628780"/>
            <a:ext cx="2914650" cy="4819787"/>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e-DE" dirty="0"/>
              <a:t>Mastertextformat bearbeiten</a:t>
            </a:r>
          </a:p>
          <a:p>
            <a:pPr lvl="1"/>
            <a:r>
              <a:rPr lang="de-DE" dirty="0"/>
              <a:t>Zweite Ebene</a:t>
            </a:r>
          </a:p>
          <a:p>
            <a:pPr lvl="2"/>
            <a:r>
              <a:rPr lang="de-DE" dirty="0"/>
              <a:t>Dritte Ebene</a:t>
            </a:r>
          </a:p>
        </p:txBody>
      </p:sp>
      <p:sp>
        <p:nvSpPr>
          <p:cNvPr id="9" name="Titel 8"/>
          <p:cNvSpPr>
            <a:spLocks noGrp="1"/>
          </p:cNvSpPr>
          <p:nvPr>
            <p:ph type="title" hasCustomPrompt="1"/>
          </p:nvPr>
        </p:nvSpPr>
        <p:spPr>
          <a:xfrm>
            <a:off x="359365" y="485498"/>
            <a:ext cx="7818106" cy="567025"/>
          </a:xfrm>
        </p:spPr>
        <p:txBody>
          <a:bodyPr/>
          <a:lstStyle>
            <a:lvl1pPr>
              <a:defRPr>
                <a:solidFill>
                  <a:srgbClr val="00549F"/>
                </a:solidFill>
              </a:defRPr>
            </a:lvl1pPr>
          </a:lstStyle>
          <a:p>
            <a:r>
              <a:rPr lang="de-DE" dirty="0"/>
              <a:t>Headline</a:t>
            </a:r>
          </a:p>
        </p:txBody>
      </p:sp>
      <p:sp>
        <p:nvSpPr>
          <p:cNvPr id="6" name="Inhaltsplatzhalter 2"/>
          <p:cNvSpPr>
            <a:spLocks noGrp="1"/>
          </p:cNvSpPr>
          <p:nvPr>
            <p:ph sz="half" idx="10"/>
          </p:nvPr>
        </p:nvSpPr>
        <p:spPr>
          <a:xfrm>
            <a:off x="3493080" y="1628780"/>
            <a:ext cx="2914650" cy="4819787"/>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e-DE" dirty="0"/>
              <a:t>Mastertextformat bearbeiten</a:t>
            </a:r>
          </a:p>
          <a:p>
            <a:pPr lvl="1"/>
            <a:r>
              <a:rPr lang="de-DE" dirty="0"/>
              <a:t>Zweite Ebene</a:t>
            </a:r>
          </a:p>
          <a:p>
            <a:pPr lvl="2"/>
            <a:r>
              <a:rPr lang="de-DE" dirty="0"/>
              <a:t>Dritte Ebene</a:t>
            </a:r>
          </a:p>
        </p:txBody>
      </p:sp>
      <p:sp>
        <p:nvSpPr>
          <p:cNvPr id="10" name="Inhaltsplatzhalter 2"/>
          <p:cNvSpPr>
            <a:spLocks noGrp="1"/>
          </p:cNvSpPr>
          <p:nvPr>
            <p:ph sz="half" idx="11"/>
          </p:nvPr>
        </p:nvSpPr>
        <p:spPr>
          <a:xfrm>
            <a:off x="6630556" y="1628780"/>
            <a:ext cx="2914650" cy="4819787"/>
          </a:xfrm>
        </p:spPr>
        <p:txBody>
          <a:bodyPr/>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de-DE" dirty="0"/>
              <a:t>Mastertextformat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18778488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Zwischen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60480" y="3292786"/>
            <a:ext cx="7779183" cy="1348473"/>
          </a:xfrm>
          <a:prstGeom prst="rect">
            <a:avLst/>
          </a:prstGeom>
        </p:spPr>
        <p:txBody>
          <a:bodyPr anchor="t"/>
          <a:lstStyle>
            <a:lvl1pPr algn="l">
              <a:defRPr sz="3000">
                <a:solidFill>
                  <a:srgbClr val="00549F"/>
                </a:solidFill>
              </a:defRPr>
            </a:lvl1pPr>
          </a:lstStyle>
          <a:p>
            <a:r>
              <a:rPr lang="de-DE" dirty="0"/>
              <a:t>Zwischentitel</a:t>
            </a:r>
          </a:p>
        </p:txBody>
      </p:sp>
    </p:spTree>
    <p:extLst>
      <p:ext uri="{BB962C8B-B14F-4D97-AF65-F5344CB8AC3E}">
        <p14:creationId xmlns:p14="http://schemas.microsoft.com/office/powerpoint/2010/main" val="21944715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Bild">
    <p:spTree>
      <p:nvGrpSpPr>
        <p:cNvPr id="1" name=""/>
        <p:cNvGrpSpPr/>
        <p:nvPr/>
      </p:nvGrpSpPr>
      <p:grpSpPr>
        <a:xfrm>
          <a:off x="0" y="0"/>
          <a:ext cx="0" cy="0"/>
          <a:chOff x="0" y="0"/>
          <a:chExt cx="0" cy="0"/>
        </a:xfrm>
      </p:grpSpPr>
      <p:sp>
        <p:nvSpPr>
          <p:cNvPr id="3" name="Bildplatzhalter 2"/>
          <p:cNvSpPr>
            <a:spLocks noGrp="1"/>
          </p:cNvSpPr>
          <p:nvPr>
            <p:ph type="pic" sz="quarter" idx="10"/>
          </p:nvPr>
        </p:nvSpPr>
        <p:spPr>
          <a:xfrm>
            <a:off x="360116" y="1628783"/>
            <a:ext cx="9181868" cy="4825999"/>
          </a:xfrm>
        </p:spPr>
        <p:txBody>
          <a:bodyPr/>
          <a:lstStyle>
            <a:lvl1pPr>
              <a:defRPr sz="1600"/>
            </a:lvl1pPr>
          </a:lstStyle>
          <a:p>
            <a:r>
              <a:rPr lang="de-DE" dirty="0"/>
              <a:t>Bild auf Platzhalter ziehen oder durch Klicken auf Symbol hinzufügen</a:t>
            </a:r>
          </a:p>
        </p:txBody>
      </p:sp>
      <p:sp>
        <p:nvSpPr>
          <p:cNvPr id="2" name="Titel 1"/>
          <p:cNvSpPr>
            <a:spLocks noGrp="1"/>
          </p:cNvSpPr>
          <p:nvPr>
            <p:ph type="title" hasCustomPrompt="1"/>
          </p:nvPr>
        </p:nvSpPr>
        <p:spPr>
          <a:xfrm>
            <a:off x="359365" y="485499"/>
            <a:ext cx="7818106" cy="567025"/>
          </a:xfrm>
        </p:spPr>
        <p:txBody>
          <a:bodyPr/>
          <a:lstStyle>
            <a:lvl1pPr>
              <a:defRPr>
                <a:solidFill>
                  <a:srgbClr val="00549F"/>
                </a:solidFill>
              </a:defRPr>
            </a:lvl1pPr>
          </a:lstStyle>
          <a:p>
            <a:r>
              <a:rPr lang="de-DE" dirty="0"/>
              <a:t>Headline</a:t>
            </a:r>
          </a:p>
        </p:txBody>
      </p:sp>
    </p:spTree>
    <p:extLst>
      <p:ext uri="{BB962C8B-B14F-4D97-AF65-F5344CB8AC3E}">
        <p14:creationId xmlns:p14="http://schemas.microsoft.com/office/powerpoint/2010/main" val="29405429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Text Box 14"/>
          <p:cNvSpPr txBox="1">
            <a:spLocks noChangeArrowheads="1"/>
          </p:cNvSpPr>
          <p:nvPr userDrawn="1"/>
        </p:nvSpPr>
        <p:spPr bwMode="gray">
          <a:xfrm>
            <a:off x="-43272" y="6550424"/>
            <a:ext cx="385762" cy="26479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0" tIns="39676" rIns="0" bIns="39676">
            <a:spAutoFit/>
          </a:bodyPr>
          <a:lstStyle>
            <a:lvl1pPr defTabSz="793750">
              <a:defRPr sz="1200" b="1">
                <a:solidFill>
                  <a:schemeClr val="tx1"/>
                </a:solidFill>
                <a:latin typeface="Arial" charset="0"/>
              </a:defRPr>
            </a:lvl1pPr>
            <a:lvl2pPr marL="742950" indent="-285750" defTabSz="793750">
              <a:defRPr sz="1200" b="1">
                <a:solidFill>
                  <a:schemeClr val="tx1"/>
                </a:solidFill>
                <a:latin typeface="Arial" charset="0"/>
              </a:defRPr>
            </a:lvl2pPr>
            <a:lvl3pPr marL="1143000" indent="-228600" defTabSz="793750">
              <a:defRPr sz="1200" b="1">
                <a:solidFill>
                  <a:schemeClr val="tx1"/>
                </a:solidFill>
                <a:latin typeface="Arial" charset="0"/>
              </a:defRPr>
            </a:lvl3pPr>
            <a:lvl4pPr marL="1600200" indent="-228600" defTabSz="793750">
              <a:defRPr sz="1200" b="1">
                <a:solidFill>
                  <a:schemeClr val="tx1"/>
                </a:solidFill>
                <a:latin typeface="Arial" charset="0"/>
              </a:defRPr>
            </a:lvl4pPr>
            <a:lvl5pPr marL="2057400" indent="-228600" defTabSz="793750">
              <a:defRPr sz="1200" b="1">
                <a:solidFill>
                  <a:schemeClr val="tx1"/>
                </a:solidFill>
                <a:latin typeface="Arial" charset="0"/>
              </a:defRPr>
            </a:lvl5pPr>
            <a:lvl6pPr marL="2514600" indent="-228600" algn="ctr" defTabSz="793750" eaLnBrk="0" fontAlgn="base" hangingPunct="0">
              <a:spcBef>
                <a:spcPct val="0"/>
              </a:spcBef>
              <a:spcAft>
                <a:spcPct val="0"/>
              </a:spcAft>
              <a:defRPr sz="1200" b="1">
                <a:solidFill>
                  <a:schemeClr val="tx1"/>
                </a:solidFill>
                <a:latin typeface="Arial" charset="0"/>
              </a:defRPr>
            </a:lvl6pPr>
            <a:lvl7pPr marL="2971800" indent="-228600" algn="ctr" defTabSz="793750" eaLnBrk="0" fontAlgn="base" hangingPunct="0">
              <a:spcBef>
                <a:spcPct val="0"/>
              </a:spcBef>
              <a:spcAft>
                <a:spcPct val="0"/>
              </a:spcAft>
              <a:defRPr sz="1200" b="1">
                <a:solidFill>
                  <a:schemeClr val="tx1"/>
                </a:solidFill>
                <a:latin typeface="Arial" charset="0"/>
              </a:defRPr>
            </a:lvl7pPr>
            <a:lvl8pPr marL="3429000" indent="-228600" algn="ctr" defTabSz="793750" eaLnBrk="0" fontAlgn="base" hangingPunct="0">
              <a:spcBef>
                <a:spcPct val="0"/>
              </a:spcBef>
              <a:spcAft>
                <a:spcPct val="0"/>
              </a:spcAft>
              <a:defRPr sz="1200" b="1">
                <a:solidFill>
                  <a:schemeClr val="tx1"/>
                </a:solidFill>
                <a:latin typeface="Arial" charset="0"/>
              </a:defRPr>
            </a:lvl8pPr>
            <a:lvl9pPr marL="3886200" indent="-228600" algn="ctr" defTabSz="793750" eaLnBrk="0" fontAlgn="base" hangingPunct="0">
              <a:spcBef>
                <a:spcPct val="0"/>
              </a:spcBef>
              <a:spcAft>
                <a:spcPct val="0"/>
              </a:spcAft>
              <a:defRPr sz="1200" b="1">
                <a:solidFill>
                  <a:schemeClr val="tx1"/>
                </a:solidFill>
                <a:latin typeface="Arial" charset="0"/>
              </a:defRPr>
            </a:lvl9pPr>
          </a:lstStyle>
          <a:p>
            <a:pPr algn="r">
              <a:spcBef>
                <a:spcPct val="50000"/>
              </a:spcBef>
            </a:pPr>
            <a:fld id="{AA017B70-F284-4646-83C9-2E1CBC983108}" type="slidenum">
              <a:rPr lang="de-DE" altLang="en-US" sz="1200" b="0"/>
              <a:pPr algn="r">
                <a:spcBef>
                  <a:spcPct val="50000"/>
                </a:spcBef>
              </a:pPr>
              <a:t>‹#›</a:t>
            </a:fld>
            <a:endParaRPr lang="de-DE" altLang="en-US" sz="1200" b="0" dirty="0"/>
          </a:p>
        </p:txBody>
      </p:sp>
    </p:spTree>
    <p:extLst>
      <p:ext uri="{BB962C8B-B14F-4D97-AF65-F5344CB8AC3E}">
        <p14:creationId xmlns:p14="http://schemas.microsoft.com/office/powerpoint/2010/main" val="4526021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Titel und Text">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nvPr>
        </p:nvGraphicFramePr>
        <p:xfrm>
          <a:off x="1593" y="1602"/>
          <a:ext cx="1587" cy="1587"/>
        </p:xfrm>
        <a:graphic>
          <a:graphicData uri="http://schemas.openxmlformats.org/presentationml/2006/ole">
            <mc:AlternateContent xmlns:mc="http://schemas.openxmlformats.org/markup-compatibility/2006">
              <mc:Choice xmlns:v="urn:schemas-microsoft-com:vml" Requires="v">
                <p:oleObj spid="_x0000_s5217"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593" y="1602"/>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Titelmasterformat durch Klicken bearbeiten</a:t>
            </a:r>
          </a:p>
        </p:txBody>
      </p:sp>
      <p:sp>
        <p:nvSpPr>
          <p:cNvPr id="3" name="Textplatzhalter 2"/>
          <p:cNvSpPr>
            <a:spLocks noGrp="1"/>
          </p:cNvSpPr>
          <p:nvPr>
            <p:ph type="body"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4763721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846E177-20D6-4D3B-BB3B-00BE52236B9B}" type="datetimeFigureOut">
              <a:rPr lang="en-US" smtClean="0"/>
              <a:t>3/2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999120D-CA9A-424F-A4E8-9DD22D0D2356}" type="slidenum">
              <a:rPr lang="en-US" smtClean="0"/>
              <a:t>‹#›</a:t>
            </a:fld>
            <a:endParaRPr lang="en-US"/>
          </a:p>
        </p:txBody>
      </p:sp>
    </p:spTree>
    <p:extLst>
      <p:ext uri="{BB962C8B-B14F-4D97-AF65-F5344CB8AC3E}">
        <p14:creationId xmlns:p14="http://schemas.microsoft.com/office/powerpoint/2010/main" val="11349947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1038" y="1825625"/>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14913" y="1825625"/>
            <a:ext cx="42100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846E177-20D6-4D3B-BB3B-00BE52236B9B}" type="datetimeFigureOut">
              <a:rPr lang="en-US" smtClean="0"/>
              <a:t>3/29/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99120D-CA9A-424F-A4E8-9DD22D0D2356}" type="slidenum">
              <a:rPr lang="en-US" smtClean="0"/>
              <a:t>‹#›</a:t>
            </a:fld>
            <a:endParaRPr lang="en-US"/>
          </a:p>
        </p:txBody>
      </p:sp>
    </p:spTree>
    <p:extLst>
      <p:ext uri="{BB962C8B-B14F-4D97-AF65-F5344CB8AC3E}">
        <p14:creationId xmlns:p14="http://schemas.microsoft.com/office/powerpoint/2010/main" val="4126278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82328" y="365127"/>
            <a:ext cx="8543925"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82329" y="1681163"/>
            <a:ext cx="4190702"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82329" y="2505075"/>
            <a:ext cx="4190702"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14913" y="1681163"/>
            <a:ext cx="4211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14913" y="2505075"/>
            <a:ext cx="4211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846E177-20D6-4D3B-BB3B-00BE52236B9B}" type="datetimeFigureOut">
              <a:rPr lang="en-US" smtClean="0"/>
              <a:t>3/29/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999120D-CA9A-424F-A4E8-9DD22D0D2356}" type="slidenum">
              <a:rPr lang="en-US" smtClean="0"/>
              <a:t>‹#›</a:t>
            </a:fld>
            <a:endParaRPr lang="en-US"/>
          </a:p>
        </p:txBody>
      </p:sp>
    </p:spTree>
    <p:extLst>
      <p:ext uri="{BB962C8B-B14F-4D97-AF65-F5344CB8AC3E}">
        <p14:creationId xmlns:p14="http://schemas.microsoft.com/office/powerpoint/2010/main" val="23121187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846E177-20D6-4D3B-BB3B-00BE52236B9B}" type="datetimeFigureOut">
              <a:rPr lang="en-US" smtClean="0"/>
              <a:t>3/29/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999120D-CA9A-424F-A4E8-9DD22D0D2356}" type="slidenum">
              <a:rPr lang="en-US" smtClean="0"/>
              <a:t>‹#›</a:t>
            </a:fld>
            <a:endParaRPr lang="en-US"/>
          </a:p>
        </p:txBody>
      </p:sp>
    </p:spTree>
    <p:extLst>
      <p:ext uri="{BB962C8B-B14F-4D97-AF65-F5344CB8AC3E}">
        <p14:creationId xmlns:p14="http://schemas.microsoft.com/office/powerpoint/2010/main" val="30624067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846E177-20D6-4D3B-BB3B-00BE52236B9B}" type="datetimeFigureOut">
              <a:rPr lang="en-US" smtClean="0"/>
              <a:t>3/29/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999120D-CA9A-424F-A4E8-9DD22D0D2356}" type="slidenum">
              <a:rPr lang="en-US" smtClean="0"/>
              <a:t>‹#›</a:t>
            </a:fld>
            <a:endParaRPr lang="en-US"/>
          </a:p>
        </p:txBody>
      </p:sp>
    </p:spTree>
    <p:extLst>
      <p:ext uri="{BB962C8B-B14F-4D97-AF65-F5344CB8AC3E}">
        <p14:creationId xmlns:p14="http://schemas.microsoft.com/office/powerpoint/2010/main" val="2391509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4211340" y="987427"/>
            <a:ext cx="5014913"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846E177-20D6-4D3B-BB3B-00BE52236B9B}" type="datetimeFigureOut">
              <a:rPr lang="en-US" smtClean="0"/>
              <a:t>3/29/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99120D-CA9A-424F-A4E8-9DD22D0D2356}" type="slidenum">
              <a:rPr lang="en-US" smtClean="0"/>
              <a:t>‹#›</a:t>
            </a:fld>
            <a:endParaRPr lang="en-US"/>
          </a:p>
        </p:txBody>
      </p:sp>
    </p:spTree>
    <p:extLst>
      <p:ext uri="{BB962C8B-B14F-4D97-AF65-F5344CB8AC3E}">
        <p14:creationId xmlns:p14="http://schemas.microsoft.com/office/powerpoint/2010/main" val="21070049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2328" y="457200"/>
            <a:ext cx="3194943"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4211340" y="987427"/>
            <a:ext cx="5014913"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82328" y="2057400"/>
            <a:ext cx="3194943"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D846E177-20D6-4D3B-BB3B-00BE52236B9B}" type="datetimeFigureOut">
              <a:rPr lang="en-US" smtClean="0"/>
              <a:t>3/29/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999120D-CA9A-424F-A4E8-9DD22D0D2356}" type="slidenum">
              <a:rPr lang="en-US" smtClean="0"/>
              <a:t>‹#›</a:t>
            </a:fld>
            <a:endParaRPr lang="en-US"/>
          </a:p>
        </p:txBody>
      </p:sp>
    </p:spTree>
    <p:extLst>
      <p:ext uri="{BB962C8B-B14F-4D97-AF65-F5344CB8AC3E}">
        <p14:creationId xmlns:p14="http://schemas.microsoft.com/office/powerpoint/2010/main" val="42234655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4.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oleObject" Target="../embeddings/oleObject1.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ags" Target="../tags/tag1.xml"/><Relationship Id="rId5" Type="http://schemas.openxmlformats.org/officeDocument/2006/relationships/slideLayout" Target="../slideLayouts/slideLayout17.xml"/><Relationship Id="rId10" Type="http://schemas.openxmlformats.org/officeDocument/2006/relationships/vmlDrawing" Target="../drawings/vmlDrawing1.vml"/><Relationship Id="rId4" Type="http://schemas.openxmlformats.org/officeDocument/2006/relationships/slideLayout" Target="../slideLayouts/slideLayout16.xml"/><Relationship Id="rId9" Type="http://schemas.openxmlformats.org/officeDocument/2006/relationships/theme" Target="../theme/theme2.xml"/><Relationship Id="rId14"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46E177-20D6-4D3B-BB3B-00BE52236B9B}" type="datetimeFigureOut">
              <a:rPr lang="en-US" smtClean="0"/>
              <a:t>3/29/2022</a:t>
            </a:fld>
            <a:endParaRPr 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996113" y="6356352"/>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999120D-CA9A-424F-A4E8-9DD22D0D2356}" type="slidenum">
              <a:rPr lang="en-US" smtClean="0"/>
              <a:t>‹#›</a:t>
            </a:fld>
            <a:endParaRPr lang="en-US"/>
          </a:p>
        </p:txBody>
      </p:sp>
    </p:spTree>
    <p:extLst>
      <p:ext uri="{BB962C8B-B14F-4D97-AF65-F5344CB8AC3E}">
        <p14:creationId xmlns:p14="http://schemas.microsoft.com/office/powerpoint/2010/main" val="4734264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1"/>
            </p:custDataLst>
            <p:extLst>
              <p:ext uri="{D42A27DB-BD31-4B8C-83A1-F6EECF244321}">
                <p14:modId xmlns:p14="http://schemas.microsoft.com/office/powerpoint/2010/main" val="627241546"/>
              </p:ext>
            </p:extLst>
          </p:nvPr>
        </p:nvGraphicFramePr>
        <p:xfrm>
          <a:off x="1589" y="1599"/>
          <a:ext cx="1588" cy="1587"/>
        </p:xfrm>
        <a:graphic>
          <a:graphicData uri="http://schemas.openxmlformats.org/presentationml/2006/ole">
            <mc:AlternateContent xmlns:mc="http://schemas.openxmlformats.org/markup-compatibility/2006">
              <mc:Choice xmlns:v="urn:schemas-microsoft-com:vml" Requires="v">
                <p:oleObj spid="_x0000_s1121" name="think-cell Folie" r:id="rId12" imgW="270" imgH="270" progId="TCLayout.ActiveDocument.1">
                  <p:embed/>
                </p:oleObj>
              </mc:Choice>
              <mc:Fallback>
                <p:oleObj name="think-cell Folie" r:id="rId12" imgW="270" imgH="270" progId="TCLayout.ActiveDocument.1">
                  <p:embed/>
                  <p:pic>
                    <p:nvPicPr>
                      <p:cNvPr id="2" name="Objekt 1" hidden="1"/>
                      <p:cNvPicPr/>
                      <p:nvPr/>
                    </p:nvPicPr>
                    <p:blipFill>
                      <a:blip r:embed="rId13"/>
                      <a:stretch>
                        <a:fillRect/>
                      </a:stretch>
                    </p:blipFill>
                    <p:spPr>
                      <a:xfrm>
                        <a:off x="1589" y="1599"/>
                        <a:ext cx="1588" cy="1587"/>
                      </a:xfrm>
                      <a:prstGeom prst="rect">
                        <a:avLst/>
                      </a:prstGeom>
                    </p:spPr>
                  </p:pic>
                </p:oleObj>
              </mc:Fallback>
            </mc:AlternateContent>
          </a:graphicData>
        </a:graphic>
      </p:graphicFrame>
      <p:sp>
        <p:nvSpPr>
          <p:cNvPr id="1027" name="Rectangle 3"/>
          <p:cNvSpPr>
            <a:spLocks noGrp="1" noChangeArrowheads="1"/>
          </p:cNvSpPr>
          <p:nvPr>
            <p:ph type="body" idx="1"/>
          </p:nvPr>
        </p:nvSpPr>
        <p:spPr bwMode="auto">
          <a:xfrm>
            <a:off x="360116" y="1628775"/>
            <a:ext cx="9185406" cy="4826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179958" bIns="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p:txBody>
      </p:sp>
      <p:sp>
        <p:nvSpPr>
          <p:cNvPr id="77836" name="Text Box 12"/>
          <p:cNvSpPr txBox="1">
            <a:spLocks noChangeArrowheads="1"/>
          </p:cNvSpPr>
          <p:nvPr/>
        </p:nvSpPr>
        <p:spPr bwMode="auto">
          <a:xfrm>
            <a:off x="360153" y="6544769"/>
            <a:ext cx="2043303" cy="144065"/>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38100">
                <a:solidFill>
                  <a:schemeClr val="accent2"/>
                </a:solidFill>
                <a:miter lim="800000"/>
                <a:headEnd/>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5992" rIns="35992" bIns="0">
            <a:spAutoFit/>
          </a:bodyPr>
          <a:lstStyle>
            <a:lvl1pPr defTabSz="1042988">
              <a:defRPr>
                <a:solidFill>
                  <a:schemeClr val="tx1"/>
                </a:solidFill>
                <a:latin typeface="Arial" charset="0"/>
              </a:defRPr>
            </a:lvl1pPr>
            <a:lvl2pPr marL="522288" defTabSz="1042988">
              <a:defRPr>
                <a:solidFill>
                  <a:schemeClr val="tx1"/>
                </a:solidFill>
                <a:latin typeface="Arial" charset="0"/>
              </a:defRPr>
            </a:lvl2pPr>
            <a:lvl3pPr marL="1042988" defTabSz="1042988">
              <a:defRPr>
                <a:solidFill>
                  <a:schemeClr val="tx1"/>
                </a:solidFill>
                <a:latin typeface="Arial" charset="0"/>
              </a:defRPr>
            </a:lvl3pPr>
            <a:lvl4pPr marL="1565275" defTabSz="1042988">
              <a:defRPr>
                <a:solidFill>
                  <a:schemeClr val="tx1"/>
                </a:solidFill>
                <a:latin typeface="Arial" charset="0"/>
              </a:defRPr>
            </a:lvl4pPr>
            <a:lvl5pPr marL="2085975" defTabSz="1042988">
              <a:defRPr>
                <a:solidFill>
                  <a:schemeClr val="tx1"/>
                </a:solidFill>
                <a:latin typeface="Arial" charset="0"/>
              </a:defRPr>
            </a:lvl5pPr>
            <a:lvl6pPr marL="2543175" defTabSz="1042988" fontAlgn="base">
              <a:spcBef>
                <a:spcPct val="0"/>
              </a:spcBef>
              <a:spcAft>
                <a:spcPct val="0"/>
              </a:spcAft>
              <a:defRPr>
                <a:solidFill>
                  <a:schemeClr val="tx1"/>
                </a:solidFill>
                <a:latin typeface="Arial" charset="0"/>
              </a:defRPr>
            </a:lvl6pPr>
            <a:lvl7pPr marL="3000375" defTabSz="1042988" fontAlgn="base">
              <a:spcBef>
                <a:spcPct val="0"/>
              </a:spcBef>
              <a:spcAft>
                <a:spcPct val="0"/>
              </a:spcAft>
              <a:defRPr>
                <a:solidFill>
                  <a:schemeClr val="tx1"/>
                </a:solidFill>
                <a:latin typeface="Arial" charset="0"/>
              </a:defRPr>
            </a:lvl7pPr>
            <a:lvl8pPr marL="3457575" defTabSz="1042988" fontAlgn="base">
              <a:spcBef>
                <a:spcPct val="0"/>
              </a:spcBef>
              <a:spcAft>
                <a:spcPct val="0"/>
              </a:spcAft>
              <a:defRPr>
                <a:solidFill>
                  <a:schemeClr val="tx1"/>
                </a:solidFill>
                <a:latin typeface="Arial" charset="0"/>
              </a:defRPr>
            </a:lvl8pPr>
            <a:lvl9pPr marL="3914775" defTabSz="1042988" fontAlgn="base">
              <a:spcBef>
                <a:spcPct val="0"/>
              </a:spcBef>
              <a:spcAft>
                <a:spcPct val="0"/>
              </a:spcAft>
              <a:defRPr>
                <a:solidFill>
                  <a:schemeClr val="tx1"/>
                </a:solidFill>
                <a:latin typeface="Arial" charset="0"/>
              </a:defRPr>
            </a:lvl9pPr>
          </a:lstStyle>
          <a:p>
            <a:pPr eaLnBrk="0" hangingPunct="0">
              <a:defRPr/>
            </a:pPr>
            <a:r>
              <a:rPr lang="de-DE" sz="700" dirty="0">
                <a:solidFill>
                  <a:srgbClr val="000000"/>
                </a:solidFill>
              </a:rPr>
              <a:t>Werkzeugbau Akademie | RWTH Aachen Campus</a:t>
            </a:r>
          </a:p>
        </p:txBody>
      </p:sp>
      <p:sp>
        <p:nvSpPr>
          <p:cNvPr id="77837" name="Text Box 13"/>
          <p:cNvSpPr txBox="1">
            <a:spLocks noChangeArrowheads="1"/>
          </p:cNvSpPr>
          <p:nvPr/>
        </p:nvSpPr>
        <p:spPr bwMode="auto">
          <a:xfrm>
            <a:off x="8768113" y="6547513"/>
            <a:ext cx="776139" cy="170022"/>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38100">
                <a:solidFill>
                  <a:schemeClr val="accent2"/>
                </a:solidFill>
                <a:miter lim="800000"/>
                <a:headEnd/>
                <a:tailEnd type="none" w="med"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35992" rIns="0" bIns="0"/>
          <a:lstStyle>
            <a:lvl1pPr defTabSz="1042988">
              <a:defRPr>
                <a:solidFill>
                  <a:schemeClr val="tx1"/>
                </a:solidFill>
                <a:latin typeface="Arial" charset="0"/>
              </a:defRPr>
            </a:lvl1pPr>
            <a:lvl2pPr marL="522288" defTabSz="1042988">
              <a:defRPr>
                <a:solidFill>
                  <a:schemeClr val="tx1"/>
                </a:solidFill>
                <a:latin typeface="Arial" charset="0"/>
              </a:defRPr>
            </a:lvl2pPr>
            <a:lvl3pPr marL="1042988" defTabSz="1042988">
              <a:defRPr>
                <a:solidFill>
                  <a:schemeClr val="tx1"/>
                </a:solidFill>
                <a:latin typeface="Arial" charset="0"/>
              </a:defRPr>
            </a:lvl3pPr>
            <a:lvl4pPr marL="1565275" defTabSz="1042988">
              <a:defRPr>
                <a:solidFill>
                  <a:schemeClr val="tx1"/>
                </a:solidFill>
                <a:latin typeface="Arial" charset="0"/>
              </a:defRPr>
            </a:lvl4pPr>
            <a:lvl5pPr marL="2085975" defTabSz="1042988">
              <a:defRPr>
                <a:solidFill>
                  <a:schemeClr val="tx1"/>
                </a:solidFill>
                <a:latin typeface="Arial" charset="0"/>
              </a:defRPr>
            </a:lvl5pPr>
            <a:lvl6pPr marL="2543175" defTabSz="1042988" fontAlgn="base">
              <a:spcBef>
                <a:spcPct val="0"/>
              </a:spcBef>
              <a:spcAft>
                <a:spcPct val="0"/>
              </a:spcAft>
              <a:defRPr>
                <a:solidFill>
                  <a:schemeClr val="tx1"/>
                </a:solidFill>
                <a:latin typeface="Arial" charset="0"/>
              </a:defRPr>
            </a:lvl6pPr>
            <a:lvl7pPr marL="3000375" defTabSz="1042988" fontAlgn="base">
              <a:spcBef>
                <a:spcPct val="0"/>
              </a:spcBef>
              <a:spcAft>
                <a:spcPct val="0"/>
              </a:spcAft>
              <a:defRPr>
                <a:solidFill>
                  <a:schemeClr val="tx1"/>
                </a:solidFill>
                <a:latin typeface="Arial" charset="0"/>
              </a:defRPr>
            </a:lvl7pPr>
            <a:lvl8pPr marL="3457575" defTabSz="1042988" fontAlgn="base">
              <a:spcBef>
                <a:spcPct val="0"/>
              </a:spcBef>
              <a:spcAft>
                <a:spcPct val="0"/>
              </a:spcAft>
              <a:defRPr>
                <a:solidFill>
                  <a:schemeClr val="tx1"/>
                </a:solidFill>
                <a:latin typeface="Arial" charset="0"/>
              </a:defRPr>
            </a:lvl8pPr>
            <a:lvl9pPr marL="3914775" defTabSz="1042988" fontAlgn="base">
              <a:spcBef>
                <a:spcPct val="0"/>
              </a:spcBef>
              <a:spcAft>
                <a:spcPct val="0"/>
              </a:spcAft>
              <a:defRPr>
                <a:solidFill>
                  <a:schemeClr val="tx1"/>
                </a:solidFill>
                <a:latin typeface="Arial" charset="0"/>
              </a:defRPr>
            </a:lvl9pPr>
          </a:lstStyle>
          <a:p>
            <a:pPr algn="r">
              <a:spcAft>
                <a:spcPct val="30000"/>
              </a:spcAft>
              <a:defRPr/>
            </a:pPr>
            <a:r>
              <a:rPr lang="de-DE" sz="700" dirty="0">
                <a:solidFill>
                  <a:srgbClr val="000000"/>
                </a:solidFill>
              </a:rPr>
              <a:t>Seite </a:t>
            </a:r>
            <a:fld id="{A464AE4C-FBA2-4B16-B2ED-39F289AB54BF}" type="slidenum">
              <a:rPr lang="de-DE" sz="700" smtClean="0">
                <a:solidFill>
                  <a:srgbClr val="000000"/>
                </a:solidFill>
              </a:rPr>
              <a:pPr algn="r">
                <a:spcAft>
                  <a:spcPct val="30000"/>
                </a:spcAft>
                <a:defRPr/>
              </a:pPr>
              <a:t>‹#›</a:t>
            </a:fld>
            <a:endParaRPr lang="de-DE" sz="700" dirty="0">
              <a:solidFill>
                <a:srgbClr val="000000"/>
              </a:solidFill>
            </a:endParaRPr>
          </a:p>
        </p:txBody>
      </p:sp>
      <p:sp>
        <p:nvSpPr>
          <p:cNvPr id="3" name="Titelplatzhalter 2"/>
          <p:cNvSpPr>
            <a:spLocks noGrp="1"/>
          </p:cNvSpPr>
          <p:nvPr>
            <p:ph type="title"/>
          </p:nvPr>
        </p:nvSpPr>
        <p:spPr>
          <a:xfrm>
            <a:off x="359362" y="485499"/>
            <a:ext cx="7818885" cy="567025"/>
          </a:xfrm>
          <a:prstGeom prst="rect">
            <a:avLst/>
          </a:prstGeom>
        </p:spPr>
        <p:txBody>
          <a:bodyPr vert="horz" lIns="0" tIns="0" rIns="0" bIns="0" rtlCol="0" anchor="t" anchorCtr="0">
            <a:noAutofit/>
          </a:bodyPr>
          <a:lstStyle/>
          <a:p>
            <a:r>
              <a:rPr lang="de-DE" dirty="0"/>
              <a:t>Headline</a:t>
            </a:r>
          </a:p>
        </p:txBody>
      </p:sp>
      <p:pic>
        <p:nvPicPr>
          <p:cNvPr id="8" name="Picture 18" descr="F:\plus-gross.png"/>
          <p:cNvPicPr>
            <a:picLocks noChangeAspect="1" noChangeArrowheads="1"/>
          </p:cNvPicPr>
          <p:nvPr userDrawn="1"/>
        </p:nvPicPr>
        <p:blipFill>
          <a:blip r:embed="rId14" cstate="screen">
            <a:extLst>
              <a:ext uri="{28A0092B-C50C-407E-A947-70E740481C1C}">
                <a14:useLocalDpi xmlns:a14="http://schemas.microsoft.com/office/drawing/2010/main"/>
              </a:ext>
            </a:extLst>
          </a:blip>
          <a:srcRect/>
          <a:stretch>
            <a:fillRect/>
          </a:stretch>
        </p:blipFill>
        <p:spPr bwMode="auto">
          <a:xfrm>
            <a:off x="8860037" y="368513"/>
            <a:ext cx="684219" cy="68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9840523"/>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4" r:id="rId8"/>
  </p:sldLayoutIdLst>
  <p:txStyles>
    <p:titleStyle>
      <a:lvl1pPr algn="l" defTabSz="1042740" rtl="0" eaLnBrk="1" fontAlgn="base" hangingPunct="1">
        <a:spcBef>
          <a:spcPct val="0"/>
        </a:spcBef>
        <a:spcAft>
          <a:spcPct val="0"/>
        </a:spcAft>
        <a:defRPr sz="2000" b="1">
          <a:solidFill>
            <a:srgbClr val="00549F"/>
          </a:solidFill>
          <a:latin typeface="+mj-lt"/>
          <a:ea typeface="+mj-ea"/>
          <a:cs typeface="+mj-cs"/>
        </a:defRPr>
      </a:lvl1pPr>
      <a:lvl2pPr algn="l" defTabSz="1042740" rtl="0" eaLnBrk="1" fontAlgn="base" hangingPunct="1">
        <a:spcBef>
          <a:spcPct val="0"/>
        </a:spcBef>
        <a:spcAft>
          <a:spcPct val="0"/>
        </a:spcAft>
        <a:defRPr sz="2200" b="1">
          <a:solidFill>
            <a:schemeClr val="tx2"/>
          </a:solidFill>
          <a:latin typeface="Arial" charset="0"/>
        </a:defRPr>
      </a:lvl2pPr>
      <a:lvl3pPr algn="l" defTabSz="1042740" rtl="0" eaLnBrk="1" fontAlgn="base" hangingPunct="1">
        <a:spcBef>
          <a:spcPct val="0"/>
        </a:spcBef>
        <a:spcAft>
          <a:spcPct val="0"/>
        </a:spcAft>
        <a:defRPr sz="2200" b="1">
          <a:solidFill>
            <a:schemeClr val="tx2"/>
          </a:solidFill>
          <a:latin typeface="Arial" charset="0"/>
        </a:defRPr>
      </a:lvl3pPr>
      <a:lvl4pPr algn="l" defTabSz="1042740" rtl="0" eaLnBrk="1" fontAlgn="base" hangingPunct="1">
        <a:spcBef>
          <a:spcPct val="0"/>
        </a:spcBef>
        <a:spcAft>
          <a:spcPct val="0"/>
        </a:spcAft>
        <a:defRPr sz="2200" b="1">
          <a:solidFill>
            <a:schemeClr val="tx2"/>
          </a:solidFill>
          <a:latin typeface="Arial" charset="0"/>
        </a:defRPr>
      </a:lvl4pPr>
      <a:lvl5pPr algn="l" defTabSz="1042740" rtl="0" eaLnBrk="1" fontAlgn="base" hangingPunct="1">
        <a:spcBef>
          <a:spcPct val="0"/>
        </a:spcBef>
        <a:spcAft>
          <a:spcPct val="0"/>
        </a:spcAft>
        <a:defRPr sz="2200" b="1">
          <a:solidFill>
            <a:schemeClr val="tx2"/>
          </a:solidFill>
          <a:latin typeface="Arial" charset="0"/>
        </a:defRPr>
      </a:lvl5pPr>
      <a:lvl6pPr marL="457092" algn="l" defTabSz="1042740" rtl="0" eaLnBrk="1" fontAlgn="base" hangingPunct="1">
        <a:spcBef>
          <a:spcPct val="0"/>
        </a:spcBef>
        <a:spcAft>
          <a:spcPct val="0"/>
        </a:spcAft>
        <a:defRPr sz="2200" b="1">
          <a:solidFill>
            <a:schemeClr val="tx2"/>
          </a:solidFill>
          <a:latin typeface="Arial" charset="0"/>
        </a:defRPr>
      </a:lvl6pPr>
      <a:lvl7pPr marL="914183" algn="l" defTabSz="1042740" rtl="0" eaLnBrk="1" fontAlgn="base" hangingPunct="1">
        <a:spcBef>
          <a:spcPct val="0"/>
        </a:spcBef>
        <a:spcAft>
          <a:spcPct val="0"/>
        </a:spcAft>
        <a:defRPr sz="2200" b="1">
          <a:solidFill>
            <a:schemeClr val="tx2"/>
          </a:solidFill>
          <a:latin typeface="Arial" charset="0"/>
        </a:defRPr>
      </a:lvl7pPr>
      <a:lvl8pPr marL="1371274" algn="l" defTabSz="1042740" rtl="0" eaLnBrk="1" fontAlgn="base" hangingPunct="1">
        <a:spcBef>
          <a:spcPct val="0"/>
        </a:spcBef>
        <a:spcAft>
          <a:spcPct val="0"/>
        </a:spcAft>
        <a:defRPr sz="2200" b="1">
          <a:solidFill>
            <a:schemeClr val="tx2"/>
          </a:solidFill>
          <a:latin typeface="Arial" charset="0"/>
        </a:defRPr>
      </a:lvl8pPr>
      <a:lvl9pPr marL="1828366" algn="l" defTabSz="1042740" rtl="0" eaLnBrk="1" fontAlgn="base" hangingPunct="1">
        <a:spcBef>
          <a:spcPct val="0"/>
        </a:spcBef>
        <a:spcAft>
          <a:spcPct val="0"/>
        </a:spcAft>
        <a:defRPr sz="2200" b="1">
          <a:solidFill>
            <a:schemeClr val="tx2"/>
          </a:solidFill>
          <a:latin typeface="Arial" charset="0"/>
        </a:defRPr>
      </a:lvl9pPr>
    </p:titleStyle>
    <p:bodyStyle>
      <a:lvl1pPr marL="266636" indent="-266636" algn="l" rtl="0" eaLnBrk="1" fontAlgn="base" hangingPunct="1">
        <a:spcBef>
          <a:spcPts val="0"/>
        </a:spcBef>
        <a:spcAft>
          <a:spcPts val="1200"/>
        </a:spcAft>
        <a:buClrTx/>
        <a:buSzPct val="100000"/>
        <a:buFont typeface="Wingdings 2" panose="05020102010507070707" pitchFamily="18" charset="2"/>
        <a:buChar char=""/>
        <a:tabLst>
          <a:tab pos="266636" algn="l"/>
          <a:tab pos="631675" algn="l"/>
          <a:tab pos="980843" algn="l"/>
        </a:tabLst>
        <a:defRPr sz="1600">
          <a:solidFill>
            <a:schemeClr val="tx1"/>
          </a:solidFill>
          <a:latin typeface="+mn-lt"/>
          <a:ea typeface="+mn-ea"/>
          <a:cs typeface="+mn-cs"/>
        </a:defRPr>
      </a:lvl1pPr>
      <a:lvl2pPr marL="531687" indent="-265050" algn="l" rtl="0" eaLnBrk="1" fontAlgn="base" hangingPunct="1">
        <a:spcBef>
          <a:spcPts val="0"/>
        </a:spcBef>
        <a:spcAft>
          <a:spcPts val="1200"/>
        </a:spcAft>
        <a:buClr>
          <a:schemeClr val="tx1"/>
        </a:buClr>
        <a:buFont typeface="Arial" charset="0"/>
        <a:buChar char="–"/>
        <a:tabLst>
          <a:tab pos="266636" algn="l"/>
          <a:tab pos="631675" algn="l"/>
          <a:tab pos="980843" algn="l"/>
        </a:tabLst>
        <a:defRPr sz="1600">
          <a:solidFill>
            <a:schemeClr val="tx1"/>
          </a:solidFill>
          <a:latin typeface="+mn-lt"/>
        </a:defRPr>
      </a:lvl2pPr>
      <a:lvl3pPr marL="799010" indent="-266336" algn="l" rtl="0" eaLnBrk="1" fontAlgn="base" hangingPunct="1">
        <a:spcBef>
          <a:spcPts val="0"/>
        </a:spcBef>
        <a:spcAft>
          <a:spcPts val="1200"/>
        </a:spcAft>
        <a:buClr>
          <a:schemeClr val="tx1"/>
        </a:buClr>
        <a:buFont typeface="Wingdings" pitchFamily="2" charset="2"/>
        <a:buChar char="§"/>
        <a:tabLst>
          <a:tab pos="266636" algn="l"/>
          <a:tab pos="631675" algn="l"/>
          <a:tab pos="980843" algn="l"/>
        </a:tabLst>
        <a:defRPr sz="1600">
          <a:solidFill>
            <a:schemeClr val="tx1"/>
          </a:solidFill>
          <a:latin typeface="+mn-lt"/>
        </a:defRPr>
      </a:lvl3pPr>
      <a:lvl4pPr marL="1431585" indent="-172996" algn="l" rtl="0" eaLnBrk="1" fontAlgn="base" hangingPunct="1">
        <a:spcBef>
          <a:spcPct val="0"/>
        </a:spcBef>
        <a:spcAft>
          <a:spcPct val="20000"/>
        </a:spcAft>
        <a:buClr>
          <a:schemeClr val="tx1"/>
        </a:buClr>
        <a:buFont typeface="Wingdings" pitchFamily="2" charset="2"/>
        <a:buChar char="§"/>
        <a:tabLst>
          <a:tab pos="266636" algn="l"/>
          <a:tab pos="631675" algn="l"/>
          <a:tab pos="980843" algn="l"/>
        </a:tabLst>
        <a:defRPr sz="1600">
          <a:solidFill>
            <a:schemeClr val="tx1"/>
          </a:solidFill>
          <a:latin typeface="+mn-lt"/>
        </a:defRPr>
      </a:lvl4pPr>
      <a:lvl5pPr marL="1793449" indent="-180932" algn="l" rtl="0" eaLnBrk="1" fontAlgn="base" hangingPunct="1">
        <a:spcBef>
          <a:spcPct val="0"/>
        </a:spcBef>
        <a:spcAft>
          <a:spcPct val="20000"/>
        </a:spcAft>
        <a:buClr>
          <a:schemeClr val="tx1"/>
        </a:buClr>
        <a:buFont typeface="Wingdings" pitchFamily="2" charset="2"/>
        <a:buChar char="§"/>
        <a:tabLst>
          <a:tab pos="266636" algn="l"/>
          <a:tab pos="631675" algn="l"/>
          <a:tab pos="980843" algn="l"/>
        </a:tabLst>
        <a:defRPr sz="1600">
          <a:solidFill>
            <a:schemeClr val="tx1"/>
          </a:solidFill>
          <a:latin typeface="+mn-lt"/>
        </a:defRPr>
      </a:lvl5pPr>
      <a:lvl6pPr marL="2250541" indent="-180932" algn="l" rtl="0" eaLnBrk="1" fontAlgn="base" hangingPunct="1">
        <a:spcBef>
          <a:spcPct val="0"/>
        </a:spcBef>
        <a:spcAft>
          <a:spcPct val="20000"/>
        </a:spcAft>
        <a:buClr>
          <a:schemeClr val="tx1"/>
        </a:buClr>
        <a:buFont typeface="Wingdings" pitchFamily="2" charset="2"/>
        <a:buChar char="§"/>
        <a:tabLst>
          <a:tab pos="266636" algn="l"/>
          <a:tab pos="631675" algn="l"/>
          <a:tab pos="980843" algn="l"/>
        </a:tabLst>
        <a:defRPr sz="1600">
          <a:solidFill>
            <a:schemeClr val="tx1"/>
          </a:solidFill>
          <a:latin typeface="+mn-lt"/>
        </a:defRPr>
      </a:lvl6pPr>
      <a:lvl7pPr marL="2707633" indent="-180932" algn="l" rtl="0" eaLnBrk="1" fontAlgn="base" hangingPunct="1">
        <a:spcBef>
          <a:spcPct val="0"/>
        </a:spcBef>
        <a:spcAft>
          <a:spcPct val="20000"/>
        </a:spcAft>
        <a:buClr>
          <a:schemeClr val="tx1"/>
        </a:buClr>
        <a:buFont typeface="Wingdings" pitchFamily="2" charset="2"/>
        <a:buChar char="§"/>
        <a:tabLst>
          <a:tab pos="266636" algn="l"/>
          <a:tab pos="631675" algn="l"/>
          <a:tab pos="980843" algn="l"/>
        </a:tabLst>
        <a:defRPr sz="1600">
          <a:solidFill>
            <a:schemeClr val="tx1"/>
          </a:solidFill>
          <a:latin typeface="+mn-lt"/>
        </a:defRPr>
      </a:lvl7pPr>
      <a:lvl8pPr marL="3164725" indent="-180932" algn="l" rtl="0" eaLnBrk="1" fontAlgn="base" hangingPunct="1">
        <a:spcBef>
          <a:spcPct val="0"/>
        </a:spcBef>
        <a:spcAft>
          <a:spcPct val="20000"/>
        </a:spcAft>
        <a:buClr>
          <a:schemeClr val="tx1"/>
        </a:buClr>
        <a:buFont typeface="Wingdings" pitchFamily="2" charset="2"/>
        <a:buChar char="§"/>
        <a:tabLst>
          <a:tab pos="266636" algn="l"/>
          <a:tab pos="631675" algn="l"/>
          <a:tab pos="980843" algn="l"/>
        </a:tabLst>
        <a:defRPr sz="1600">
          <a:solidFill>
            <a:schemeClr val="tx1"/>
          </a:solidFill>
          <a:latin typeface="+mn-lt"/>
        </a:defRPr>
      </a:lvl8pPr>
      <a:lvl9pPr marL="3621815" indent="-180932" algn="l" rtl="0" eaLnBrk="1" fontAlgn="base" hangingPunct="1">
        <a:spcBef>
          <a:spcPct val="0"/>
        </a:spcBef>
        <a:spcAft>
          <a:spcPct val="20000"/>
        </a:spcAft>
        <a:buClr>
          <a:schemeClr val="tx1"/>
        </a:buClr>
        <a:buFont typeface="Wingdings" pitchFamily="2" charset="2"/>
        <a:buChar char="§"/>
        <a:tabLst>
          <a:tab pos="266636" algn="l"/>
          <a:tab pos="631675" algn="l"/>
          <a:tab pos="980843" algn="l"/>
        </a:tabLst>
        <a:defRPr sz="1600">
          <a:solidFill>
            <a:schemeClr val="tx1"/>
          </a:solidFill>
          <a:latin typeface="+mn-lt"/>
        </a:defRPr>
      </a:lvl9pPr>
    </p:bodyStyle>
    <p:otherStyle>
      <a:defPPr>
        <a:defRPr lang="de-DE"/>
      </a:defPPr>
      <a:lvl1pPr marL="0" algn="l" defTabSz="914183" rtl="0" eaLnBrk="1" latinLnBrk="0" hangingPunct="1">
        <a:defRPr sz="1800" kern="1200">
          <a:solidFill>
            <a:schemeClr val="tx1"/>
          </a:solidFill>
          <a:latin typeface="+mn-lt"/>
          <a:ea typeface="+mn-ea"/>
          <a:cs typeface="+mn-cs"/>
        </a:defRPr>
      </a:lvl1pPr>
      <a:lvl2pPr marL="457092" algn="l" defTabSz="914183" rtl="0" eaLnBrk="1" latinLnBrk="0" hangingPunct="1">
        <a:defRPr sz="1800" kern="1200">
          <a:solidFill>
            <a:schemeClr val="tx1"/>
          </a:solidFill>
          <a:latin typeface="+mn-lt"/>
          <a:ea typeface="+mn-ea"/>
          <a:cs typeface="+mn-cs"/>
        </a:defRPr>
      </a:lvl2pPr>
      <a:lvl3pPr marL="914183" algn="l" defTabSz="914183" rtl="0" eaLnBrk="1" latinLnBrk="0" hangingPunct="1">
        <a:defRPr sz="1800" kern="1200">
          <a:solidFill>
            <a:schemeClr val="tx1"/>
          </a:solidFill>
          <a:latin typeface="+mn-lt"/>
          <a:ea typeface="+mn-ea"/>
          <a:cs typeface="+mn-cs"/>
        </a:defRPr>
      </a:lvl3pPr>
      <a:lvl4pPr marL="1371274" algn="l" defTabSz="914183" rtl="0" eaLnBrk="1" latinLnBrk="0" hangingPunct="1">
        <a:defRPr sz="1800" kern="1200">
          <a:solidFill>
            <a:schemeClr val="tx1"/>
          </a:solidFill>
          <a:latin typeface="+mn-lt"/>
          <a:ea typeface="+mn-ea"/>
          <a:cs typeface="+mn-cs"/>
        </a:defRPr>
      </a:lvl4pPr>
      <a:lvl5pPr marL="1828366" algn="l" defTabSz="914183" rtl="0" eaLnBrk="1" latinLnBrk="0" hangingPunct="1">
        <a:defRPr sz="1800" kern="1200">
          <a:solidFill>
            <a:schemeClr val="tx1"/>
          </a:solidFill>
          <a:latin typeface="+mn-lt"/>
          <a:ea typeface="+mn-ea"/>
          <a:cs typeface="+mn-cs"/>
        </a:defRPr>
      </a:lvl5pPr>
      <a:lvl6pPr marL="2285458" algn="l" defTabSz="914183" rtl="0" eaLnBrk="1" latinLnBrk="0" hangingPunct="1">
        <a:defRPr sz="1800" kern="1200">
          <a:solidFill>
            <a:schemeClr val="tx1"/>
          </a:solidFill>
          <a:latin typeface="+mn-lt"/>
          <a:ea typeface="+mn-ea"/>
          <a:cs typeface="+mn-cs"/>
        </a:defRPr>
      </a:lvl6pPr>
      <a:lvl7pPr marL="2742550" algn="l" defTabSz="914183" rtl="0" eaLnBrk="1" latinLnBrk="0" hangingPunct="1">
        <a:defRPr sz="1800" kern="1200">
          <a:solidFill>
            <a:schemeClr val="tx1"/>
          </a:solidFill>
          <a:latin typeface="+mn-lt"/>
          <a:ea typeface="+mn-ea"/>
          <a:cs typeface="+mn-cs"/>
        </a:defRPr>
      </a:lvl7pPr>
      <a:lvl8pPr marL="3199641" algn="l" defTabSz="914183" rtl="0" eaLnBrk="1" latinLnBrk="0" hangingPunct="1">
        <a:defRPr sz="1800" kern="1200">
          <a:solidFill>
            <a:schemeClr val="tx1"/>
          </a:solidFill>
          <a:latin typeface="+mn-lt"/>
          <a:ea typeface="+mn-ea"/>
          <a:cs typeface="+mn-cs"/>
        </a:defRPr>
      </a:lvl8pPr>
      <a:lvl9pPr marL="3656732" algn="l" defTabSz="91418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2.png"/><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1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image" Target="../media/image32.jpeg"/><Relationship Id="rId4"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4.png"/><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13.jpeg"/></Relationships>
</file>

<file path=ppt/slides/_rels/slide1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image" Target="../media/image12.png"/><Relationship Id="rId2" Type="http://schemas.openxmlformats.org/officeDocument/2006/relationships/tags" Target="../tags/tag7.xml"/><Relationship Id="rId16" Type="http://schemas.openxmlformats.org/officeDocument/2006/relationships/image" Target="../media/image13.jpe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image" Target="../media/image14.png"/><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13" Type="http://schemas.openxmlformats.org/officeDocument/2006/relationships/image" Target="../media/image25.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5" Type="http://schemas.openxmlformats.org/officeDocument/2006/relationships/image" Target="../media/image13.jpe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 Id="rId14" Type="http://schemas.openxmlformats.org/officeDocument/2006/relationships/image" Target="../media/image26.png"/></Relationships>
</file>

<file path=ppt/slides/_rels/slide8.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openxmlformats.org/officeDocument/2006/relationships/image" Target="../media/image13.jpeg"/><Relationship Id="rId4" Type="http://schemas.openxmlformats.org/officeDocument/2006/relationships/diagramLayout" Target="../diagrams/layout1.xml"/><Relationship Id="rId9"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22.png"/><Relationship Id="rId12"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image" Target="../media/image19.png"/><Relationship Id="rId11" Type="http://schemas.openxmlformats.org/officeDocument/2006/relationships/image" Target="../media/image25.png"/><Relationship Id="rId5" Type="http://schemas.openxmlformats.org/officeDocument/2006/relationships/image" Target="../media/image18.png"/><Relationship Id="rId15" Type="http://schemas.openxmlformats.org/officeDocument/2006/relationships/image" Target="../media/image13.jpeg"/><Relationship Id="rId10" Type="http://schemas.openxmlformats.org/officeDocument/2006/relationships/image" Target="../media/image21.png"/><Relationship Id="rId4" Type="http://schemas.openxmlformats.org/officeDocument/2006/relationships/image" Target="../media/image17.png"/><Relationship Id="rId9" Type="http://schemas.openxmlformats.org/officeDocument/2006/relationships/image" Target="../media/image26.png"/><Relationship Id="rId1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367884" y="3429000"/>
            <a:ext cx="7157864" cy="1077218"/>
          </a:xfrm>
          <a:prstGeom prst="rect">
            <a:avLst/>
          </a:prstGeom>
        </p:spPr>
        <p:txBody>
          <a:bodyPr wrap="square">
            <a:spAutoFit/>
          </a:bodyPr>
          <a:lstStyle/>
          <a:p>
            <a:pPr algn="ctr"/>
            <a:r>
              <a:rPr lang="en-ZA" sz="3200" b="1" dirty="0">
                <a:latin typeface="Arial" panose="020B0604020202020204" pitchFamily="34" charset="0"/>
                <a:cs typeface="Arial" panose="020B0604020202020204" pitchFamily="34" charset="0"/>
              </a:rPr>
              <a:t>Enterprise Development Service Offering</a:t>
            </a:r>
          </a:p>
        </p:txBody>
      </p:sp>
      <p:sp>
        <p:nvSpPr>
          <p:cNvPr id="3" name="Rectangle 2">
            <a:extLst>
              <a:ext uri="{FF2B5EF4-FFF2-40B4-BE49-F238E27FC236}">
                <a16:creationId xmlns:a16="http://schemas.microsoft.com/office/drawing/2014/main" id="{2C4B2800-8221-4495-AB2E-8FC79B76FA1F}"/>
              </a:ext>
            </a:extLst>
          </p:cNvPr>
          <p:cNvSpPr/>
          <p:nvPr/>
        </p:nvSpPr>
        <p:spPr>
          <a:xfrm>
            <a:off x="-1" y="6571034"/>
            <a:ext cx="9893634" cy="81557"/>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5" name="Picture 4" descr="Graphical user interface&#10;&#10;Description automatically generated with low confidence">
            <a:extLst>
              <a:ext uri="{FF2B5EF4-FFF2-40B4-BE49-F238E27FC236}">
                <a16:creationId xmlns:a16="http://schemas.microsoft.com/office/drawing/2014/main" id="{E3A8FAB7-F64F-409E-BC5A-95A99CE306D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 y="0"/>
            <a:ext cx="9913637" cy="2655794"/>
          </a:xfrm>
          <a:prstGeom prst="rect">
            <a:avLst/>
          </a:prstGeom>
        </p:spPr>
      </p:pic>
    </p:spTree>
    <p:extLst>
      <p:ext uri="{BB962C8B-B14F-4D97-AF65-F5344CB8AC3E}">
        <p14:creationId xmlns:p14="http://schemas.microsoft.com/office/powerpoint/2010/main" val="34647566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4170EB5-FE1E-4C25-871C-64EF212BC948}"/>
              </a:ext>
            </a:extLst>
          </p:cNvPr>
          <p:cNvSpPr/>
          <p:nvPr/>
        </p:nvSpPr>
        <p:spPr>
          <a:xfrm>
            <a:off x="312235" y="1103321"/>
            <a:ext cx="9593766" cy="498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7" name="Picture 3" descr="A close up of a logo&#10;&#10;Description automatically generated">
            <a:extLst>
              <a:ext uri="{FF2B5EF4-FFF2-40B4-BE49-F238E27FC236}">
                <a16:creationId xmlns:a16="http://schemas.microsoft.com/office/drawing/2014/main" id="{278C3439-77CF-4B42-837A-B9E82E9148B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400938" y="5932445"/>
            <a:ext cx="9505058" cy="84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1">
            <a:extLst>
              <a:ext uri="{FF2B5EF4-FFF2-40B4-BE49-F238E27FC236}">
                <a16:creationId xmlns:a16="http://schemas.microsoft.com/office/drawing/2014/main" id="{18584E63-D4BF-4C63-BEAB-BB26B4CAD7D7}"/>
              </a:ext>
            </a:extLst>
          </p:cNvPr>
          <p:cNvSpPr txBox="1">
            <a:spLocks/>
          </p:cNvSpPr>
          <p:nvPr/>
        </p:nvSpPr>
        <p:spPr bwMode="auto">
          <a:xfrm>
            <a:off x="200472" y="-151052"/>
            <a:ext cx="8424239" cy="872896"/>
          </a:xfrm>
          <a:prstGeom prst="rect">
            <a:avLst/>
          </a:prstGeom>
        </p:spPr>
        <p:txBody>
          <a:bodyPr vert="horz" lIns="91440" tIns="45720" rIns="91440" bIns="45720" rtlCol="0" anchor="ctr">
            <a:noAutofit/>
          </a:bodyPr>
          <a:lstStyle>
            <a:defPPr>
              <a:defRPr lang="en-US"/>
            </a:defPPr>
            <a:lvl1pPr>
              <a:lnSpc>
                <a:spcPct val="90000"/>
              </a:lnSpc>
              <a:spcBef>
                <a:spcPct val="0"/>
              </a:spcBef>
              <a:defRPr sz="2400" b="1">
                <a:solidFill>
                  <a:schemeClr val="accent6">
                    <a:lumMod val="50000"/>
                  </a:schemeClr>
                </a:solidFill>
                <a:latin typeface="Arial" panose="020B0604020202020204" pitchFamily="34" charset="0"/>
                <a:ea typeface="+mj-ea"/>
                <a:cs typeface="Arial" panose="020B0604020202020204" pitchFamily="34" charset="0"/>
              </a:defRPr>
            </a:lvl1pPr>
          </a:lstStyle>
          <a:p>
            <a:endParaRPr lang="en-GB" dirty="0">
              <a:solidFill>
                <a:schemeClr val="tx1"/>
              </a:solidFill>
            </a:endParaRPr>
          </a:p>
        </p:txBody>
      </p:sp>
      <p:sp>
        <p:nvSpPr>
          <p:cNvPr id="42" name="TextBox 41">
            <a:extLst>
              <a:ext uri="{FF2B5EF4-FFF2-40B4-BE49-F238E27FC236}">
                <a16:creationId xmlns:a16="http://schemas.microsoft.com/office/drawing/2014/main" id="{130A4683-9BD0-4C3A-9E3D-B147FBB1B887}"/>
              </a:ext>
            </a:extLst>
          </p:cNvPr>
          <p:cNvSpPr txBox="1"/>
          <p:nvPr/>
        </p:nvSpPr>
        <p:spPr>
          <a:xfrm rot="16200000">
            <a:off x="151749" y="3669643"/>
            <a:ext cx="2537706" cy="369310"/>
          </a:xfrm>
          <a:prstGeom prst="rect">
            <a:avLst/>
          </a:prstGeom>
          <a:noFill/>
        </p:spPr>
        <p:txBody>
          <a:bodyPr wrap="square" lIns="91418" tIns="45709" rIns="91418" bIns="45709" rtlCol="0">
            <a:spAutoFit/>
          </a:bodyPr>
          <a:lstStyle/>
          <a:p>
            <a:r>
              <a:rPr lang="en-ZA" b="1" dirty="0">
                <a:solidFill>
                  <a:prstClr val="black"/>
                </a:solidFill>
                <a:latin typeface="Century Gothic" panose="020B0502020202020204" pitchFamily="34" charset="0"/>
                <a:cs typeface="Arial" panose="020B0604020202020204" pitchFamily="34" charset="0"/>
              </a:rPr>
              <a:t>Companies assisted</a:t>
            </a:r>
          </a:p>
        </p:txBody>
      </p:sp>
      <p:sp>
        <p:nvSpPr>
          <p:cNvPr id="49" name="Titel 1">
            <a:extLst>
              <a:ext uri="{FF2B5EF4-FFF2-40B4-BE49-F238E27FC236}">
                <a16:creationId xmlns:a16="http://schemas.microsoft.com/office/drawing/2014/main" id="{76480C25-2977-4FAF-A78A-2B7DBD08412E}"/>
              </a:ext>
            </a:extLst>
          </p:cNvPr>
          <p:cNvSpPr txBox="1">
            <a:spLocks/>
          </p:cNvSpPr>
          <p:nvPr/>
        </p:nvSpPr>
        <p:spPr>
          <a:xfrm>
            <a:off x="312235" y="348577"/>
            <a:ext cx="9384733" cy="736984"/>
          </a:xfrm>
          <a:prstGeom prst="rect">
            <a:avLst/>
          </a:prstGeom>
        </p:spPr>
        <p:txBody>
          <a:bodyPr vert="horz" lIns="91418" tIns="45709" rIns="91418" bIns="45709" rtlCol="0" anchor="b">
            <a:noAutofit/>
          </a:bodyPr>
          <a:lstStyle>
            <a:lvl1pPr algn="l" defTabSz="914400" rtl="0" eaLnBrk="1" latinLnBrk="0" hangingPunct="1">
              <a:spcBef>
                <a:spcPct val="0"/>
              </a:spcBef>
              <a:buNone/>
              <a:defRPr sz="2200" b="1" kern="1200">
                <a:solidFill>
                  <a:schemeClr val="tx1"/>
                </a:solidFill>
                <a:latin typeface="Arial" panose="020B0604020202020204" pitchFamily="34" charset="0"/>
                <a:ea typeface="+mj-ea"/>
                <a:cs typeface="Arial" panose="020B0604020202020204" pitchFamily="34" charset="0"/>
              </a:defRPr>
            </a:lvl1pPr>
          </a:lstStyle>
          <a:p>
            <a:r>
              <a:rPr lang="en-US" sz="3000" dirty="0">
                <a:solidFill>
                  <a:srgbClr val="0070C0"/>
                </a:solidFill>
                <a:latin typeface="Century Gothic" panose="020B0502020202020204" pitchFamily="34" charset="0"/>
              </a:rPr>
              <a:t>Status of companies assisted to date                </a:t>
            </a:r>
            <a:r>
              <a:rPr lang="en-US" sz="2800" dirty="0">
                <a:solidFill>
                  <a:srgbClr val="0070C0"/>
                </a:solidFill>
                <a:latin typeface="Century Gothic" panose="020B0502020202020204" pitchFamily="34" charset="0"/>
              </a:rPr>
              <a:t>(2011 – 2020)</a:t>
            </a:r>
            <a:endParaRPr lang="en-US" sz="3000" dirty="0">
              <a:solidFill>
                <a:srgbClr val="0070C0"/>
              </a:solidFill>
              <a:latin typeface="Century Gothic" panose="020B0502020202020204" pitchFamily="34" charset="0"/>
            </a:endParaRPr>
          </a:p>
        </p:txBody>
      </p:sp>
      <p:graphicFrame>
        <p:nvGraphicFramePr>
          <p:cNvPr id="46" name="Chart 45">
            <a:extLst>
              <a:ext uri="{FF2B5EF4-FFF2-40B4-BE49-F238E27FC236}">
                <a16:creationId xmlns:a16="http://schemas.microsoft.com/office/drawing/2014/main" id="{FE2E42E0-897F-4D3F-B3D0-F24002150E1B}"/>
              </a:ext>
            </a:extLst>
          </p:cNvPr>
          <p:cNvGraphicFramePr>
            <a:graphicFrameLocks/>
          </p:cNvGraphicFramePr>
          <p:nvPr>
            <p:extLst>
              <p:ext uri="{D42A27DB-BD31-4B8C-83A1-F6EECF244321}">
                <p14:modId xmlns:p14="http://schemas.microsoft.com/office/powerpoint/2010/main" val="4149317706"/>
              </p:ext>
            </p:extLst>
          </p:nvPr>
        </p:nvGraphicFramePr>
        <p:xfrm>
          <a:off x="1583825" y="1919052"/>
          <a:ext cx="6534918" cy="3870493"/>
        </p:xfrm>
        <a:graphic>
          <a:graphicData uri="http://schemas.openxmlformats.org/drawingml/2006/chart">
            <c:chart xmlns:c="http://schemas.openxmlformats.org/drawingml/2006/chart" xmlns:r="http://schemas.openxmlformats.org/officeDocument/2006/relationships" r:id="rId3"/>
          </a:graphicData>
        </a:graphic>
      </p:graphicFrame>
      <p:pic>
        <p:nvPicPr>
          <p:cNvPr id="10" name="Picture 9">
            <a:extLst>
              <a:ext uri="{FF2B5EF4-FFF2-40B4-BE49-F238E27FC236}">
                <a16:creationId xmlns:a16="http://schemas.microsoft.com/office/drawing/2014/main" id="{57FF5F36-AD01-4783-9F80-86D645003F59}"/>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0938" y="6046790"/>
            <a:ext cx="1856232" cy="417384"/>
          </a:xfrm>
          <a:prstGeom prst="rect">
            <a:avLst/>
          </a:prstGeom>
          <a:noFill/>
          <a:ln>
            <a:noFill/>
          </a:ln>
        </p:spPr>
      </p:pic>
    </p:spTree>
    <p:extLst>
      <p:ext uri="{BB962C8B-B14F-4D97-AF65-F5344CB8AC3E}">
        <p14:creationId xmlns:p14="http://schemas.microsoft.com/office/powerpoint/2010/main" val="16339047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4170EB5-FE1E-4C25-871C-64EF212BC948}"/>
              </a:ext>
            </a:extLst>
          </p:cNvPr>
          <p:cNvSpPr/>
          <p:nvPr/>
        </p:nvSpPr>
        <p:spPr>
          <a:xfrm>
            <a:off x="312235" y="842312"/>
            <a:ext cx="9593766" cy="498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7" name="Picture 3" descr="A close up of a logo&#10;&#10;Description automatically generated">
            <a:extLst>
              <a:ext uri="{FF2B5EF4-FFF2-40B4-BE49-F238E27FC236}">
                <a16:creationId xmlns:a16="http://schemas.microsoft.com/office/drawing/2014/main" id="{278C3439-77CF-4B42-837A-B9E82E9148B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400938" y="5932445"/>
            <a:ext cx="9505058" cy="84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1">
            <a:extLst>
              <a:ext uri="{FF2B5EF4-FFF2-40B4-BE49-F238E27FC236}">
                <a16:creationId xmlns:a16="http://schemas.microsoft.com/office/drawing/2014/main" id="{18584E63-D4BF-4C63-BEAB-BB26B4CAD7D7}"/>
              </a:ext>
            </a:extLst>
          </p:cNvPr>
          <p:cNvSpPr txBox="1">
            <a:spLocks/>
          </p:cNvSpPr>
          <p:nvPr/>
        </p:nvSpPr>
        <p:spPr bwMode="auto">
          <a:xfrm>
            <a:off x="200472" y="80305"/>
            <a:ext cx="8424239" cy="872896"/>
          </a:xfrm>
          <a:prstGeom prst="rect">
            <a:avLst/>
          </a:prstGeom>
        </p:spPr>
        <p:txBody>
          <a:bodyPr vert="horz" lIns="91440" tIns="45720" rIns="91440" bIns="45720" rtlCol="0" anchor="ctr">
            <a:noAutofit/>
          </a:bodyPr>
          <a:lstStyle>
            <a:defPPr>
              <a:defRPr lang="en-US"/>
            </a:defPPr>
            <a:lvl1pPr>
              <a:lnSpc>
                <a:spcPct val="90000"/>
              </a:lnSpc>
              <a:spcBef>
                <a:spcPct val="0"/>
              </a:spcBef>
              <a:defRPr sz="2400" b="1">
                <a:solidFill>
                  <a:schemeClr val="accent6">
                    <a:lumMod val="50000"/>
                  </a:schemeClr>
                </a:solidFill>
                <a:latin typeface="Arial" panose="020B0604020202020204" pitchFamily="34" charset="0"/>
                <a:ea typeface="+mj-ea"/>
                <a:cs typeface="Arial" panose="020B0604020202020204" pitchFamily="34" charset="0"/>
              </a:defRPr>
            </a:lvl1pPr>
          </a:lstStyle>
          <a:p>
            <a:endParaRPr lang="en-GB" dirty="0">
              <a:solidFill>
                <a:schemeClr val="tx1"/>
              </a:solidFill>
            </a:endParaRPr>
          </a:p>
        </p:txBody>
      </p:sp>
      <p:sp>
        <p:nvSpPr>
          <p:cNvPr id="16" name="Title 1">
            <a:extLst>
              <a:ext uri="{FF2B5EF4-FFF2-40B4-BE49-F238E27FC236}">
                <a16:creationId xmlns:a16="http://schemas.microsoft.com/office/drawing/2014/main" id="{3BACCD37-D9BB-447F-834E-2C9D4DAC89AC}"/>
              </a:ext>
            </a:extLst>
          </p:cNvPr>
          <p:cNvSpPr txBox="1">
            <a:spLocks/>
          </p:cNvSpPr>
          <p:nvPr/>
        </p:nvSpPr>
        <p:spPr>
          <a:xfrm>
            <a:off x="200471" y="177840"/>
            <a:ext cx="9340735" cy="6572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2400" b="1" dirty="0">
                <a:solidFill>
                  <a:srgbClr val="0070C0"/>
                </a:solidFill>
                <a:latin typeface="Century Gothic" panose="020B0502020202020204" pitchFamily="34" charset="0"/>
                <a:cs typeface="Arial" panose="020B0604020202020204" pitchFamily="34" charset="0"/>
              </a:rPr>
              <a:t>Actual feedback from companies after having participated in the Enterprise Development Programme</a:t>
            </a:r>
          </a:p>
        </p:txBody>
      </p:sp>
      <p:pic>
        <p:nvPicPr>
          <p:cNvPr id="11" name="Picture 10">
            <a:extLst>
              <a:ext uri="{FF2B5EF4-FFF2-40B4-BE49-F238E27FC236}">
                <a16:creationId xmlns:a16="http://schemas.microsoft.com/office/drawing/2014/main" id="{AEA9EFE4-20D2-4506-9273-4F4612BB185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0938" y="6046790"/>
            <a:ext cx="1856232" cy="417384"/>
          </a:xfrm>
          <a:prstGeom prst="rect">
            <a:avLst/>
          </a:prstGeom>
          <a:noFill/>
          <a:ln>
            <a:noFill/>
          </a:ln>
        </p:spPr>
      </p:pic>
      <p:sp>
        <p:nvSpPr>
          <p:cNvPr id="2" name="TextBox 1">
            <a:extLst>
              <a:ext uri="{FF2B5EF4-FFF2-40B4-BE49-F238E27FC236}">
                <a16:creationId xmlns:a16="http://schemas.microsoft.com/office/drawing/2014/main" id="{FB91A0EA-582A-4220-938D-DCCB87623AE9}"/>
              </a:ext>
            </a:extLst>
          </p:cNvPr>
          <p:cNvSpPr txBox="1"/>
          <p:nvPr/>
        </p:nvSpPr>
        <p:spPr>
          <a:xfrm>
            <a:off x="2168467" y="2632101"/>
            <a:ext cx="6940699" cy="2800767"/>
          </a:xfrm>
          <a:prstGeom prst="rect">
            <a:avLst/>
          </a:prstGeom>
          <a:noFill/>
        </p:spPr>
        <p:txBody>
          <a:bodyPr wrap="square" rtlCol="0">
            <a:spAutoFit/>
          </a:bodyPr>
          <a:lstStyle/>
          <a:p>
            <a:r>
              <a:rPr lang="en-US" sz="1100" b="1" u="none" strike="noStrike" baseline="0" dirty="0">
                <a:solidFill>
                  <a:srgbClr val="000000"/>
                </a:solidFill>
                <a:latin typeface="Century Gothic" panose="020B0502020202020204" pitchFamily="34" charset="0"/>
              </a:rPr>
              <a:t>S4 Integration</a:t>
            </a:r>
            <a:r>
              <a:rPr lang="en-US" sz="1100" u="none" strike="noStrike" baseline="0" dirty="0">
                <a:solidFill>
                  <a:srgbClr val="000000"/>
                </a:solidFill>
                <a:latin typeface="Century Gothic" panose="020B0502020202020204" pitchFamily="34" charset="0"/>
              </a:rPr>
              <a:t>, a member of </a:t>
            </a:r>
            <a:r>
              <a:rPr lang="en-US" sz="1100" u="none" strike="noStrike" baseline="0" dirty="0" err="1">
                <a:solidFill>
                  <a:srgbClr val="000000"/>
                </a:solidFill>
                <a:latin typeface="Century Gothic" panose="020B0502020202020204" pitchFamily="34" charset="0"/>
              </a:rPr>
              <a:t>PtSA</a:t>
            </a:r>
            <a:r>
              <a:rPr lang="en-US" sz="1100" u="none" strike="noStrike" baseline="0" dirty="0">
                <a:solidFill>
                  <a:srgbClr val="000000"/>
                </a:solidFill>
                <a:latin typeface="Century Gothic" panose="020B0502020202020204" pitchFamily="34" charset="0"/>
              </a:rPr>
              <a:t> </a:t>
            </a:r>
            <a:r>
              <a:rPr lang="en-US" sz="1100" dirty="0">
                <a:solidFill>
                  <a:srgbClr val="000000"/>
                </a:solidFill>
                <a:latin typeface="Century Gothic" panose="020B0502020202020204" pitchFamily="34" charset="0"/>
              </a:rPr>
              <a:t>and </a:t>
            </a:r>
            <a:r>
              <a:rPr lang="en-US" sz="1100" u="none" strike="noStrike" baseline="0" dirty="0">
                <a:solidFill>
                  <a:srgbClr val="000000"/>
                </a:solidFill>
                <a:latin typeface="Century Gothic" panose="020B0502020202020204" pitchFamily="34" charset="0"/>
              </a:rPr>
              <a:t>situated in </a:t>
            </a:r>
            <a:r>
              <a:rPr lang="en-US" sz="1100" u="none" strike="noStrike" baseline="0" dirty="0" err="1">
                <a:solidFill>
                  <a:srgbClr val="000000"/>
                </a:solidFill>
                <a:latin typeface="Century Gothic" panose="020B0502020202020204" pitchFamily="34" charset="0"/>
              </a:rPr>
              <a:t>Gqeberha</a:t>
            </a:r>
            <a:r>
              <a:rPr lang="en-US" sz="1100" u="none" strike="noStrike" baseline="0" dirty="0">
                <a:solidFill>
                  <a:srgbClr val="000000"/>
                </a:solidFill>
                <a:latin typeface="Century Gothic" panose="020B0502020202020204" pitchFamily="34" charset="0"/>
              </a:rPr>
              <a:t> in the Eastern Cape, has recently undergone a </a:t>
            </a:r>
            <a:r>
              <a:rPr lang="en-US" sz="1100" u="none" strike="noStrike" baseline="0" dirty="0" err="1">
                <a:solidFill>
                  <a:srgbClr val="000000"/>
                </a:solidFill>
                <a:latin typeface="Century Gothic" panose="020B0502020202020204" pitchFamily="34" charset="0"/>
              </a:rPr>
              <a:t>PtSA</a:t>
            </a:r>
            <a:r>
              <a:rPr lang="en-US" sz="1100" u="none" strike="noStrike" baseline="0" dirty="0">
                <a:solidFill>
                  <a:srgbClr val="000000"/>
                </a:solidFill>
                <a:latin typeface="Century Gothic" panose="020B0502020202020204" pitchFamily="34" charset="0"/>
              </a:rPr>
              <a:t> Intervention Project to improve their competitiveness in order to better service their local and international customers.</a:t>
            </a:r>
          </a:p>
          <a:p>
            <a:endParaRPr lang="en-US" sz="1100" b="1" i="1" u="none" strike="noStrike" baseline="0" dirty="0">
              <a:solidFill>
                <a:srgbClr val="000000"/>
              </a:solidFill>
              <a:latin typeface="Century Gothic" panose="020B0502020202020204" pitchFamily="34" charset="0"/>
            </a:endParaRPr>
          </a:p>
          <a:p>
            <a:r>
              <a:rPr lang="en-US" sz="1100" b="1" i="1" dirty="0">
                <a:solidFill>
                  <a:srgbClr val="0070C0"/>
                </a:solidFill>
                <a:latin typeface="Century Gothic" panose="020B0502020202020204" pitchFamily="34" charset="0"/>
              </a:rPr>
              <a:t>Andrew White, MD of S4 Integration, says “the project has helped us to focus on some of the important issues which will assist us to improve and grow the company’s competitiveness for the benefit of our customers and employees”.</a:t>
            </a:r>
          </a:p>
          <a:p>
            <a:endParaRPr lang="en-US" sz="1100" b="1" i="1" dirty="0">
              <a:solidFill>
                <a:srgbClr val="000000"/>
              </a:solidFill>
              <a:latin typeface="Century Gothic" panose="020B0502020202020204" pitchFamily="34" charset="0"/>
            </a:endParaRPr>
          </a:p>
          <a:p>
            <a:r>
              <a:rPr lang="en-US" sz="1100" b="1" i="1" dirty="0">
                <a:solidFill>
                  <a:srgbClr val="000000"/>
                </a:solidFill>
                <a:latin typeface="Century Gothic" panose="020B0502020202020204" pitchFamily="34" charset="0"/>
              </a:rPr>
              <a:t>The following improvement measures were recommended by the </a:t>
            </a:r>
            <a:r>
              <a:rPr lang="en-US" sz="1100" b="1" i="1" dirty="0" err="1">
                <a:solidFill>
                  <a:srgbClr val="000000"/>
                </a:solidFill>
                <a:latin typeface="Century Gothic" panose="020B0502020202020204" pitchFamily="34" charset="0"/>
              </a:rPr>
              <a:t>PtSA</a:t>
            </a:r>
            <a:r>
              <a:rPr lang="en-US" sz="1100" b="1" i="1" dirty="0">
                <a:solidFill>
                  <a:srgbClr val="000000"/>
                </a:solidFill>
                <a:latin typeface="Century Gothic" panose="020B0502020202020204" pitchFamily="34" charset="0"/>
              </a:rPr>
              <a:t> Enterprise Development team:</a:t>
            </a:r>
          </a:p>
          <a:p>
            <a:r>
              <a:rPr lang="en-ZA" sz="1100" b="0" i="0" u="none" strike="noStrike" baseline="0" dirty="0">
                <a:solidFill>
                  <a:srgbClr val="000000"/>
                </a:solidFill>
                <a:latin typeface="Century Gothic" panose="020B0502020202020204" pitchFamily="34" charset="0"/>
              </a:rPr>
              <a:t>• Improved shopfloor layouts, </a:t>
            </a:r>
          </a:p>
          <a:p>
            <a:r>
              <a:rPr lang="en-US" sz="1100" b="0" i="0" u="none" strike="noStrike" baseline="0" dirty="0">
                <a:solidFill>
                  <a:srgbClr val="000000"/>
                </a:solidFill>
                <a:latin typeface="Century Gothic" panose="020B0502020202020204" pitchFamily="34" charset="0"/>
              </a:rPr>
              <a:t>• Improvements to the company website, </a:t>
            </a:r>
          </a:p>
          <a:p>
            <a:r>
              <a:rPr lang="en-US" sz="1100" b="0" i="0" u="none" strike="noStrike" baseline="0" dirty="0">
                <a:solidFill>
                  <a:srgbClr val="000000"/>
                </a:solidFill>
                <a:latin typeface="Century Gothic" panose="020B0502020202020204" pitchFamily="34" charset="0"/>
              </a:rPr>
              <a:t>• Improved marketing strategies for the company including online marketing, </a:t>
            </a:r>
          </a:p>
          <a:p>
            <a:r>
              <a:rPr lang="en-US" sz="1100" b="0" i="0" u="none" strike="noStrike" baseline="0" dirty="0">
                <a:solidFill>
                  <a:srgbClr val="000000"/>
                </a:solidFill>
                <a:latin typeface="Century Gothic" panose="020B0502020202020204" pitchFamily="34" charset="0"/>
              </a:rPr>
              <a:t>• Improved shop floor management processes, </a:t>
            </a:r>
          </a:p>
          <a:p>
            <a:r>
              <a:rPr lang="en-US" sz="1100" b="0" i="0" u="none" strike="noStrike" baseline="0" dirty="0">
                <a:solidFill>
                  <a:srgbClr val="000000"/>
                </a:solidFill>
                <a:latin typeface="Century Gothic" panose="020B0502020202020204" pitchFamily="34" charset="0"/>
              </a:rPr>
              <a:t>• Displaying company vision and mission on the shopfloor, and </a:t>
            </a:r>
          </a:p>
          <a:p>
            <a:r>
              <a:rPr lang="en-US" sz="1100" b="0" i="0" u="none" strike="noStrike" baseline="0" dirty="0">
                <a:solidFill>
                  <a:srgbClr val="000000"/>
                </a:solidFill>
                <a:latin typeface="Century Gothic" panose="020B0502020202020204" pitchFamily="34" charset="0"/>
              </a:rPr>
              <a:t>• Implementing cost benefit analysis tools. </a:t>
            </a:r>
          </a:p>
        </p:txBody>
      </p:sp>
      <p:pic>
        <p:nvPicPr>
          <p:cNvPr id="6146" name="Picture 2" descr="S4 Integration &amp;amp; S4 Development Services | Home Portal">
            <a:extLst>
              <a:ext uri="{FF2B5EF4-FFF2-40B4-BE49-F238E27FC236}">
                <a16:creationId xmlns:a16="http://schemas.microsoft.com/office/drawing/2014/main" id="{DFA694D9-0E41-4B67-8091-D85914D64A4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2235" y="1050736"/>
            <a:ext cx="1856232" cy="185623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8D083FF1-0832-4378-8891-0975C20F2BA8}"/>
              </a:ext>
            </a:extLst>
          </p:cNvPr>
          <p:cNvPicPr>
            <a:picLocks noChangeAspect="1"/>
          </p:cNvPicPr>
          <p:nvPr/>
        </p:nvPicPr>
        <p:blipFill>
          <a:blip r:embed="rId5"/>
          <a:stretch>
            <a:fillRect/>
          </a:stretch>
        </p:blipFill>
        <p:spPr>
          <a:xfrm>
            <a:off x="2257170" y="1219933"/>
            <a:ext cx="3781953" cy="1314633"/>
          </a:xfrm>
          <a:prstGeom prst="rect">
            <a:avLst/>
          </a:prstGeom>
        </p:spPr>
      </p:pic>
    </p:spTree>
    <p:extLst>
      <p:ext uri="{BB962C8B-B14F-4D97-AF65-F5344CB8AC3E}">
        <p14:creationId xmlns:p14="http://schemas.microsoft.com/office/powerpoint/2010/main" val="15539162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4170EB5-FE1E-4C25-871C-64EF212BC948}"/>
              </a:ext>
            </a:extLst>
          </p:cNvPr>
          <p:cNvSpPr/>
          <p:nvPr/>
        </p:nvSpPr>
        <p:spPr>
          <a:xfrm>
            <a:off x="312235" y="842312"/>
            <a:ext cx="9593766" cy="498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7" name="Picture 3" descr="A close up of a logo&#10;&#10;Description automatically generated">
            <a:extLst>
              <a:ext uri="{FF2B5EF4-FFF2-40B4-BE49-F238E27FC236}">
                <a16:creationId xmlns:a16="http://schemas.microsoft.com/office/drawing/2014/main" id="{278C3439-77CF-4B42-837A-B9E82E9148B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400938" y="5932445"/>
            <a:ext cx="9505058" cy="84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1">
            <a:extLst>
              <a:ext uri="{FF2B5EF4-FFF2-40B4-BE49-F238E27FC236}">
                <a16:creationId xmlns:a16="http://schemas.microsoft.com/office/drawing/2014/main" id="{18584E63-D4BF-4C63-BEAB-BB26B4CAD7D7}"/>
              </a:ext>
            </a:extLst>
          </p:cNvPr>
          <p:cNvSpPr txBox="1">
            <a:spLocks/>
          </p:cNvSpPr>
          <p:nvPr/>
        </p:nvSpPr>
        <p:spPr bwMode="auto">
          <a:xfrm>
            <a:off x="200472" y="80305"/>
            <a:ext cx="8424239" cy="872896"/>
          </a:xfrm>
          <a:prstGeom prst="rect">
            <a:avLst/>
          </a:prstGeom>
        </p:spPr>
        <p:txBody>
          <a:bodyPr vert="horz" lIns="91440" tIns="45720" rIns="91440" bIns="45720" rtlCol="0" anchor="ctr">
            <a:noAutofit/>
          </a:bodyPr>
          <a:lstStyle>
            <a:defPPr>
              <a:defRPr lang="en-US"/>
            </a:defPPr>
            <a:lvl1pPr>
              <a:lnSpc>
                <a:spcPct val="90000"/>
              </a:lnSpc>
              <a:spcBef>
                <a:spcPct val="0"/>
              </a:spcBef>
              <a:defRPr sz="2400" b="1">
                <a:solidFill>
                  <a:schemeClr val="accent6">
                    <a:lumMod val="50000"/>
                  </a:schemeClr>
                </a:solidFill>
                <a:latin typeface="Arial" panose="020B0604020202020204" pitchFamily="34" charset="0"/>
                <a:ea typeface="+mj-ea"/>
                <a:cs typeface="Arial" panose="020B0604020202020204" pitchFamily="34" charset="0"/>
              </a:defRPr>
            </a:lvl1pPr>
          </a:lstStyle>
          <a:p>
            <a:endParaRPr lang="en-GB" dirty="0">
              <a:solidFill>
                <a:schemeClr val="tx1"/>
              </a:solidFill>
            </a:endParaRPr>
          </a:p>
        </p:txBody>
      </p:sp>
      <p:sp>
        <p:nvSpPr>
          <p:cNvPr id="16" name="Title 1">
            <a:extLst>
              <a:ext uri="{FF2B5EF4-FFF2-40B4-BE49-F238E27FC236}">
                <a16:creationId xmlns:a16="http://schemas.microsoft.com/office/drawing/2014/main" id="{3BACCD37-D9BB-447F-834E-2C9D4DAC89AC}"/>
              </a:ext>
            </a:extLst>
          </p:cNvPr>
          <p:cNvSpPr txBox="1">
            <a:spLocks/>
          </p:cNvSpPr>
          <p:nvPr/>
        </p:nvSpPr>
        <p:spPr>
          <a:xfrm>
            <a:off x="200471" y="177840"/>
            <a:ext cx="9340735" cy="6572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2400" b="1" dirty="0">
                <a:solidFill>
                  <a:srgbClr val="0070C0"/>
                </a:solidFill>
                <a:latin typeface="Century Gothic" panose="020B0502020202020204" pitchFamily="34" charset="0"/>
                <a:cs typeface="Arial" panose="020B0604020202020204" pitchFamily="34" charset="0"/>
              </a:rPr>
              <a:t>Actual feedback from companies after having participated in the Enterprise Development Programme</a:t>
            </a:r>
          </a:p>
        </p:txBody>
      </p:sp>
      <p:pic>
        <p:nvPicPr>
          <p:cNvPr id="11" name="Picture 10">
            <a:extLst>
              <a:ext uri="{FF2B5EF4-FFF2-40B4-BE49-F238E27FC236}">
                <a16:creationId xmlns:a16="http://schemas.microsoft.com/office/drawing/2014/main" id="{AEA9EFE4-20D2-4506-9273-4F4612BB185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0938" y="6046790"/>
            <a:ext cx="1856232" cy="417384"/>
          </a:xfrm>
          <a:prstGeom prst="rect">
            <a:avLst/>
          </a:prstGeom>
          <a:noFill/>
          <a:ln>
            <a:noFill/>
          </a:ln>
        </p:spPr>
      </p:pic>
      <p:sp>
        <p:nvSpPr>
          <p:cNvPr id="12" name="TextBox 11">
            <a:extLst>
              <a:ext uri="{FF2B5EF4-FFF2-40B4-BE49-F238E27FC236}">
                <a16:creationId xmlns:a16="http://schemas.microsoft.com/office/drawing/2014/main" id="{F4E4D76A-E529-4525-BA28-EBDEA3EA7B96}"/>
              </a:ext>
            </a:extLst>
          </p:cNvPr>
          <p:cNvSpPr txBox="1"/>
          <p:nvPr/>
        </p:nvSpPr>
        <p:spPr>
          <a:xfrm>
            <a:off x="2514615" y="2737327"/>
            <a:ext cx="6488708" cy="2462213"/>
          </a:xfrm>
          <a:prstGeom prst="rect">
            <a:avLst/>
          </a:prstGeom>
          <a:noFill/>
        </p:spPr>
        <p:txBody>
          <a:bodyPr wrap="square">
            <a:spAutoFit/>
          </a:bodyPr>
          <a:lstStyle/>
          <a:p>
            <a:endParaRPr lang="en-ZA" sz="1100" b="0" i="0" u="none" strike="noStrike" baseline="0" dirty="0">
              <a:solidFill>
                <a:srgbClr val="000000"/>
              </a:solidFill>
              <a:latin typeface="Arial" panose="020B0604020202020204" pitchFamily="34" charset="0"/>
            </a:endParaRPr>
          </a:p>
          <a:p>
            <a:r>
              <a:rPr lang="en-US" sz="1100" b="1" i="0" u="none" strike="noStrike" baseline="0" dirty="0">
                <a:solidFill>
                  <a:srgbClr val="000000"/>
                </a:solidFill>
                <a:latin typeface="Century Gothic" panose="020B0502020202020204" pitchFamily="34" charset="0"/>
              </a:rPr>
              <a:t>AE Manufacturing</a:t>
            </a:r>
            <a:r>
              <a:rPr lang="en-US" sz="1100" i="0" u="none" strike="noStrike" baseline="0" dirty="0">
                <a:solidFill>
                  <a:srgbClr val="000000"/>
                </a:solidFill>
                <a:latin typeface="Century Gothic" panose="020B0502020202020204" pitchFamily="34" charset="0"/>
              </a:rPr>
              <a:t>, a member of PtSA which offers </a:t>
            </a:r>
            <a:r>
              <a:rPr lang="en-US" sz="1100" i="0" u="none" strike="noStrike" baseline="0" dirty="0" err="1">
                <a:solidFill>
                  <a:srgbClr val="000000"/>
                </a:solidFill>
                <a:latin typeface="Century Gothic" panose="020B0502020202020204" pitchFamily="34" charset="0"/>
              </a:rPr>
              <a:t>specialised</a:t>
            </a:r>
            <a:r>
              <a:rPr lang="en-US" sz="1100" b="1" i="0" u="none" strike="noStrike" baseline="0" dirty="0">
                <a:solidFill>
                  <a:srgbClr val="000000"/>
                </a:solidFill>
                <a:latin typeface="Century Gothic" panose="020B0502020202020204" pitchFamily="34" charset="0"/>
              </a:rPr>
              <a:t> </a:t>
            </a:r>
            <a:r>
              <a:rPr lang="en-US" sz="1100" b="0" i="0" u="none" strike="noStrike" baseline="0" dirty="0">
                <a:solidFill>
                  <a:srgbClr val="000000"/>
                </a:solidFill>
                <a:latin typeface="Century Gothic" panose="020B0502020202020204" pitchFamily="34" charset="0"/>
              </a:rPr>
              <a:t>services such as designing, precision machining, reverse engineering &amp; fabrication to name a few, participated in a</a:t>
            </a:r>
            <a:r>
              <a:rPr lang="en-FI" sz="1100" b="0" i="0" u="none" strike="noStrike" baseline="0" dirty="0">
                <a:solidFill>
                  <a:srgbClr val="000000"/>
                </a:solidFill>
                <a:latin typeface="Century Gothic" panose="020B0502020202020204" pitchFamily="34" charset="0"/>
              </a:rPr>
              <a:t>n Enterprise Development</a:t>
            </a:r>
            <a:r>
              <a:rPr lang="en-US" sz="1100" b="0" i="0" u="none" strike="noStrike" baseline="0" dirty="0">
                <a:solidFill>
                  <a:srgbClr val="000000"/>
                </a:solidFill>
                <a:latin typeface="Century Gothic" panose="020B0502020202020204" pitchFamily="34" charset="0"/>
              </a:rPr>
              <a:t> project funded by the Eastern Cape DEDEAT through the AIDC Eastern Cape to improve the company’s competitiveness. </a:t>
            </a:r>
            <a:r>
              <a:rPr lang="en-US" sz="1100" dirty="0">
                <a:solidFill>
                  <a:srgbClr val="000000"/>
                </a:solidFill>
                <a:latin typeface="Century Gothic" panose="020B0502020202020204" pitchFamily="34" charset="0"/>
              </a:rPr>
              <a:t> </a:t>
            </a:r>
          </a:p>
          <a:p>
            <a:endParaRPr lang="en-US" sz="1100" dirty="0">
              <a:solidFill>
                <a:srgbClr val="000000"/>
              </a:solidFill>
              <a:latin typeface="Century Gothic" panose="020B0502020202020204" pitchFamily="34" charset="0"/>
            </a:endParaRPr>
          </a:p>
          <a:p>
            <a:r>
              <a:rPr lang="en-US" sz="1100" dirty="0">
                <a:solidFill>
                  <a:srgbClr val="000000"/>
                </a:solidFill>
                <a:latin typeface="Century Gothic" panose="020B0502020202020204" pitchFamily="34" charset="0"/>
              </a:rPr>
              <a:t>The project, undertaken by</a:t>
            </a:r>
            <a:r>
              <a:rPr lang="en-US" sz="1100" b="0" i="0" u="none" strike="noStrike" baseline="0" dirty="0">
                <a:solidFill>
                  <a:srgbClr val="000000"/>
                </a:solidFill>
                <a:latin typeface="Century Gothic" panose="020B0502020202020204" pitchFamily="34" charset="0"/>
              </a:rPr>
              <a:t> </a:t>
            </a:r>
            <a:r>
              <a:rPr lang="en-US" sz="1100" b="0" i="0" u="none" strike="noStrike" baseline="0" dirty="0" err="1">
                <a:solidFill>
                  <a:srgbClr val="000000"/>
                </a:solidFill>
                <a:latin typeface="Century Gothic" panose="020B0502020202020204" pitchFamily="34" charset="0"/>
              </a:rPr>
              <a:t>PtSA</a:t>
            </a:r>
            <a:r>
              <a:rPr lang="en-US" sz="1100" b="0" i="0" u="none" strike="noStrike" baseline="0" dirty="0">
                <a:solidFill>
                  <a:srgbClr val="000000"/>
                </a:solidFill>
                <a:latin typeface="Century Gothic" panose="020B0502020202020204" pitchFamily="34" charset="0"/>
              </a:rPr>
              <a:t> Enterprise Development, followed a 3-stage approach which included company profiling, analysis of the company’s capabilities and determination of the measures required to improve efficiencies.</a:t>
            </a:r>
          </a:p>
          <a:p>
            <a:endParaRPr lang="en-ZA" sz="1100" b="0" i="0" u="none" strike="noStrike" baseline="0" dirty="0">
              <a:solidFill>
                <a:srgbClr val="000000"/>
              </a:solidFill>
              <a:latin typeface="Century Gothic" panose="020B0502020202020204" pitchFamily="34" charset="0"/>
            </a:endParaRPr>
          </a:p>
          <a:p>
            <a:r>
              <a:rPr lang="en-US" sz="1100" b="1" i="0" u="none" strike="noStrike" baseline="0" dirty="0">
                <a:solidFill>
                  <a:srgbClr val="0070C0"/>
                </a:solidFill>
                <a:latin typeface="Century Gothic" panose="020B0502020202020204" pitchFamily="34" charset="0"/>
              </a:rPr>
              <a:t>Simon Meyer from AE Manufacturing had the following to say about the project: “</a:t>
            </a:r>
            <a:r>
              <a:rPr lang="en-US" sz="1100" b="1" i="1" u="none" strike="noStrike" baseline="0" dirty="0">
                <a:solidFill>
                  <a:srgbClr val="0070C0"/>
                </a:solidFill>
                <a:latin typeface="Century Gothic" panose="020B0502020202020204" pitchFamily="34" charset="0"/>
              </a:rPr>
              <a:t>AE Manufacturing is experiencing rapid growth. The </a:t>
            </a:r>
            <a:r>
              <a:rPr lang="en-US" sz="1100" b="1" i="1" u="none" strike="noStrike" baseline="0" dirty="0" err="1">
                <a:solidFill>
                  <a:srgbClr val="0070C0"/>
                </a:solidFill>
                <a:latin typeface="Century Gothic" panose="020B0502020202020204" pitchFamily="34" charset="0"/>
              </a:rPr>
              <a:t>PtSA</a:t>
            </a:r>
            <a:r>
              <a:rPr lang="en-US" sz="1100" b="1" i="1" u="none" strike="noStrike" baseline="0" dirty="0">
                <a:solidFill>
                  <a:srgbClr val="0070C0"/>
                </a:solidFill>
                <a:latin typeface="Century Gothic" panose="020B0502020202020204" pitchFamily="34" charset="0"/>
              </a:rPr>
              <a:t> Enterprise Development project has helped us to address areas which are impacted by this growth and to consolidate and improve core processes in the business model and better prepare for the growth</a:t>
            </a:r>
            <a:r>
              <a:rPr lang="en-US" sz="1100" b="1" i="0" u="none" strike="noStrike" baseline="0" dirty="0">
                <a:solidFill>
                  <a:srgbClr val="0070C0"/>
                </a:solidFill>
                <a:latin typeface="Century Gothic" panose="020B0502020202020204" pitchFamily="34" charset="0"/>
              </a:rPr>
              <a:t>”. </a:t>
            </a:r>
          </a:p>
        </p:txBody>
      </p:sp>
      <p:pic>
        <p:nvPicPr>
          <p:cNvPr id="7170" name="Picture 2" descr="Technologies | AE Manufacturing, Engineering, Port Elizabeth">
            <a:extLst>
              <a:ext uri="{FF2B5EF4-FFF2-40B4-BE49-F238E27FC236}">
                <a16:creationId xmlns:a16="http://schemas.microsoft.com/office/drawing/2014/main" id="{5A095C0F-9BEE-451E-B843-DC4CC6F165B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0938" y="1538871"/>
            <a:ext cx="1941668" cy="962811"/>
          </a:xfrm>
          <a:prstGeom prst="rect">
            <a:avLst/>
          </a:prstGeom>
          <a:noFill/>
          <a:extLst>
            <a:ext uri="{909E8E84-426E-40DD-AFC4-6F175D3DCCD1}">
              <a14:hiddenFill xmlns:a14="http://schemas.microsoft.com/office/drawing/2010/main">
                <a:solidFill>
                  <a:srgbClr val="FFFFFF"/>
                </a:solidFill>
              </a14:hiddenFill>
            </a:ext>
          </a:extLst>
        </p:spPr>
      </p:pic>
      <p:pic>
        <p:nvPicPr>
          <p:cNvPr id="7172" name="Picture 4" descr="PHOTO GALLERY | AE Manufacturing, Engineering, Port Elizabeth">
            <a:extLst>
              <a:ext uri="{FF2B5EF4-FFF2-40B4-BE49-F238E27FC236}">
                <a16:creationId xmlns:a16="http://schemas.microsoft.com/office/drawing/2014/main" id="{67C6ED91-B973-4C86-A2D8-BD2983BD56D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23672" y="1334642"/>
            <a:ext cx="2101816" cy="140268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2ABFC28B-227D-4E03-B3B1-433556D1D3EC}"/>
              </a:ext>
            </a:extLst>
          </p:cNvPr>
          <p:cNvPicPr>
            <a:picLocks noChangeAspect="1"/>
          </p:cNvPicPr>
          <p:nvPr/>
        </p:nvPicPr>
        <p:blipFill>
          <a:blip r:embed="rId6"/>
          <a:stretch>
            <a:fillRect/>
          </a:stretch>
        </p:blipFill>
        <p:spPr>
          <a:xfrm>
            <a:off x="4811188" y="1334642"/>
            <a:ext cx="2363877" cy="1402685"/>
          </a:xfrm>
          <a:prstGeom prst="rect">
            <a:avLst/>
          </a:prstGeom>
        </p:spPr>
      </p:pic>
    </p:spTree>
    <p:extLst>
      <p:ext uri="{BB962C8B-B14F-4D97-AF65-F5344CB8AC3E}">
        <p14:creationId xmlns:p14="http://schemas.microsoft.com/office/powerpoint/2010/main" val="25082553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Capewell">
            <a:extLst>
              <a:ext uri="{FF2B5EF4-FFF2-40B4-BE49-F238E27FC236}">
                <a16:creationId xmlns:a16="http://schemas.microsoft.com/office/drawing/2014/main" id="{141F12F0-66A9-49E6-8280-DDDD2D905C08}"/>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4028" y="1307819"/>
            <a:ext cx="2752371" cy="983973"/>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4170EB5-FE1E-4C25-871C-64EF212BC948}"/>
              </a:ext>
            </a:extLst>
          </p:cNvPr>
          <p:cNvSpPr/>
          <p:nvPr/>
        </p:nvSpPr>
        <p:spPr>
          <a:xfrm>
            <a:off x="312235" y="842312"/>
            <a:ext cx="9593766" cy="498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7" name="Picture 3" descr="A close up of a logo&#10;&#10;Description automatically generated">
            <a:extLst>
              <a:ext uri="{FF2B5EF4-FFF2-40B4-BE49-F238E27FC236}">
                <a16:creationId xmlns:a16="http://schemas.microsoft.com/office/drawing/2014/main" id="{278C3439-77CF-4B42-837A-B9E82E9148B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a:off x="400938" y="5932445"/>
            <a:ext cx="9505058" cy="84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1">
            <a:extLst>
              <a:ext uri="{FF2B5EF4-FFF2-40B4-BE49-F238E27FC236}">
                <a16:creationId xmlns:a16="http://schemas.microsoft.com/office/drawing/2014/main" id="{18584E63-D4BF-4C63-BEAB-BB26B4CAD7D7}"/>
              </a:ext>
            </a:extLst>
          </p:cNvPr>
          <p:cNvSpPr txBox="1">
            <a:spLocks/>
          </p:cNvSpPr>
          <p:nvPr/>
        </p:nvSpPr>
        <p:spPr bwMode="auto">
          <a:xfrm>
            <a:off x="200472" y="80305"/>
            <a:ext cx="8424239" cy="872896"/>
          </a:xfrm>
          <a:prstGeom prst="rect">
            <a:avLst/>
          </a:prstGeom>
        </p:spPr>
        <p:txBody>
          <a:bodyPr vert="horz" lIns="91440" tIns="45720" rIns="91440" bIns="45720" rtlCol="0" anchor="ctr">
            <a:noAutofit/>
          </a:bodyPr>
          <a:lstStyle>
            <a:defPPr>
              <a:defRPr lang="en-US"/>
            </a:defPPr>
            <a:lvl1pPr>
              <a:lnSpc>
                <a:spcPct val="90000"/>
              </a:lnSpc>
              <a:spcBef>
                <a:spcPct val="0"/>
              </a:spcBef>
              <a:defRPr sz="2400" b="1">
                <a:solidFill>
                  <a:schemeClr val="accent6">
                    <a:lumMod val="50000"/>
                  </a:schemeClr>
                </a:solidFill>
                <a:latin typeface="Arial" panose="020B0604020202020204" pitchFamily="34" charset="0"/>
                <a:ea typeface="+mj-ea"/>
                <a:cs typeface="Arial" panose="020B0604020202020204" pitchFamily="34" charset="0"/>
              </a:defRPr>
            </a:lvl1pPr>
          </a:lstStyle>
          <a:p>
            <a:endParaRPr lang="en-GB" dirty="0">
              <a:solidFill>
                <a:schemeClr val="tx1"/>
              </a:solidFill>
            </a:endParaRPr>
          </a:p>
        </p:txBody>
      </p:sp>
      <p:sp>
        <p:nvSpPr>
          <p:cNvPr id="16" name="Title 1">
            <a:extLst>
              <a:ext uri="{FF2B5EF4-FFF2-40B4-BE49-F238E27FC236}">
                <a16:creationId xmlns:a16="http://schemas.microsoft.com/office/drawing/2014/main" id="{3BACCD37-D9BB-447F-834E-2C9D4DAC89AC}"/>
              </a:ext>
            </a:extLst>
          </p:cNvPr>
          <p:cNvSpPr txBox="1">
            <a:spLocks/>
          </p:cNvSpPr>
          <p:nvPr/>
        </p:nvSpPr>
        <p:spPr>
          <a:xfrm>
            <a:off x="200471" y="177840"/>
            <a:ext cx="9340735" cy="6572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2400" b="1" dirty="0">
                <a:solidFill>
                  <a:srgbClr val="0070C0"/>
                </a:solidFill>
                <a:latin typeface="Century Gothic" panose="020B0502020202020204" pitchFamily="34" charset="0"/>
                <a:cs typeface="Arial" panose="020B0604020202020204" pitchFamily="34" charset="0"/>
              </a:rPr>
              <a:t>Actual feedback from companies after having participated in the Enterprise Development Programme</a:t>
            </a:r>
          </a:p>
        </p:txBody>
      </p:sp>
      <p:pic>
        <p:nvPicPr>
          <p:cNvPr id="11" name="Picture 10">
            <a:extLst>
              <a:ext uri="{FF2B5EF4-FFF2-40B4-BE49-F238E27FC236}">
                <a16:creationId xmlns:a16="http://schemas.microsoft.com/office/drawing/2014/main" id="{AEA9EFE4-20D2-4506-9273-4F4612BB1850}"/>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00938" y="6046790"/>
            <a:ext cx="1856232" cy="417384"/>
          </a:xfrm>
          <a:prstGeom prst="rect">
            <a:avLst/>
          </a:prstGeom>
          <a:noFill/>
          <a:ln>
            <a:noFill/>
          </a:ln>
        </p:spPr>
      </p:pic>
      <p:sp>
        <p:nvSpPr>
          <p:cNvPr id="12" name="TextBox 11">
            <a:extLst>
              <a:ext uri="{FF2B5EF4-FFF2-40B4-BE49-F238E27FC236}">
                <a16:creationId xmlns:a16="http://schemas.microsoft.com/office/drawing/2014/main" id="{F4E4D76A-E529-4525-BA28-EBDEA3EA7B96}"/>
              </a:ext>
            </a:extLst>
          </p:cNvPr>
          <p:cNvSpPr txBox="1"/>
          <p:nvPr/>
        </p:nvSpPr>
        <p:spPr>
          <a:xfrm>
            <a:off x="2729864" y="3571495"/>
            <a:ext cx="6598940" cy="1514454"/>
          </a:xfrm>
          <a:prstGeom prst="rect">
            <a:avLst/>
          </a:prstGeom>
          <a:noFill/>
        </p:spPr>
        <p:txBody>
          <a:bodyPr wrap="square">
            <a:spAutoFit/>
          </a:bodyPr>
          <a:lstStyle/>
          <a:p>
            <a:pPr marR="0" algn="l">
              <a:lnSpc>
                <a:spcPct val="115000"/>
              </a:lnSpc>
              <a:spcBef>
                <a:spcPts val="0"/>
              </a:spcBef>
              <a:spcAft>
                <a:spcPts val="600"/>
              </a:spcAft>
            </a:pPr>
            <a:r>
              <a:rPr lang="en-US" sz="1100" b="1" dirty="0" err="1">
                <a:latin typeface="Century Gothic" panose="020B0502020202020204" pitchFamily="34" charset="0"/>
              </a:rPr>
              <a:t>Capewell</a:t>
            </a:r>
            <a:r>
              <a:rPr lang="en-US" sz="1100" b="1" dirty="0">
                <a:latin typeface="Century Gothic" panose="020B0502020202020204" pitchFamily="34" charset="0"/>
              </a:rPr>
              <a:t> Springs and Metal Pressings</a:t>
            </a:r>
            <a:r>
              <a:rPr lang="en-US" sz="1100" dirty="0">
                <a:latin typeface="Century Gothic" panose="020B0502020202020204" pitchFamily="34" charset="0"/>
              </a:rPr>
              <a:t>, a </a:t>
            </a:r>
            <a:r>
              <a:rPr lang="en-US" sz="1100" dirty="0" err="1">
                <a:latin typeface="Century Gothic" panose="020B0502020202020204" pitchFamily="34" charset="0"/>
              </a:rPr>
              <a:t>PtSA</a:t>
            </a:r>
            <a:r>
              <a:rPr lang="en-US" sz="1100" dirty="0">
                <a:latin typeface="Century Gothic" panose="020B0502020202020204" pitchFamily="34" charset="0"/>
              </a:rPr>
              <a:t> member, participated in a </a:t>
            </a:r>
            <a:r>
              <a:rPr lang="en-US" sz="1100" dirty="0" err="1">
                <a:latin typeface="Century Gothic" panose="020B0502020202020204" pitchFamily="34" charset="0"/>
              </a:rPr>
              <a:t>PtSA</a:t>
            </a:r>
            <a:r>
              <a:rPr lang="en-US" sz="1100" dirty="0">
                <a:latin typeface="Century Gothic" panose="020B0502020202020204" pitchFamily="34" charset="0"/>
              </a:rPr>
              <a:t> Enterprise Development Benchmarking and Intervention Project. The company, based in Cape Town, supplies a wide range of industries with various springs and metal pressings. </a:t>
            </a:r>
          </a:p>
          <a:p>
            <a:pPr marR="0" algn="l">
              <a:lnSpc>
                <a:spcPct val="115000"/>
              </a:lnSpc>
              <a:spcBef>
                <a:spcPts val="0"/>
              </a:spcBef>
              <a:spcAft>
                <a:spcPts val="600"/>
              </a:spcAft>
            </a:pPr>
            <a:r>
              <a:rPr lang="en-US" sz="1100" b="1" dirty="0">
                <a:solidFill>
                  <a:srgbClr val="0070C0"/>
                </a:solidFill>
                <a:latin typeface="Century Gothic" panose="020B0502020202020204" pitchFamily="34" charset="0"/>
              </a:rPr>
              <a:t>Emile Coetzee, owner of </a:t>
            </a:r>
            <a:r>
              <a:rPr lang="en-US" sz="1100" b="1" dirty="0" err="1">
                <a:solidFill>
                  <a:srgbClr val="0070C0"/>
                </a:solidFill>
                <a:latin typeface="Century Gothic" panose="020B0502020202020204" pitchFamily="34" charset="0"/>
              </a:rPr>
              <a:t>Capewell</a:t>
            </a:r>
            <a:r>
              <a:rPr lang="en-US" sz="1100" b="1" dirty="0">
                <a:solidFill>
                  <a:srgbClr val="0070C0"/>
                </a:solidFill>
                <a:latin typeface="Century Gothic" panose="020B0502020202020204" pitchFamily="34" charset="0"/>
              </a:rPr>
              <a:t> Springs and Metal Pressings, said “the benchmarking process really made us aware of our shortcoming and potentials. The subsequent intervention project was critical in helping the company with the implementation and execution of the needed changes. We are extremely positive about the results of this project”</a:t>
            </a:r>
            <a:r>
              <a:rPr lang="en-US" sz="1100" dirty="0">
                <a:solidFill>
                  <a:srgbClr val="0070C0"/>
                </a:solidFill>
                <a:latin typeface="Century Gothic" panose="020B0502020202020204" pitchFamily="34" charset="0"/>
              </a:rPr>
              <a:t>.</a:t>
            </a:r>
          </a:p>
        </p:txBody>
      </p:sp>
      <p:pic>
        <p:nvPicPr>
          <p:cNvPr id="6146" name="Picture 2">
            <a:extLst>
              <a:ext uri="{FF2B5EF4-FFF2-40B4-BE49-F238E27FC236}">
                <a16:creationId xmlns:a16="http://schemas.microsoft.com/office/drawing/2014/main" id="{DF36C9D2-6C11-48EF-8351-AE38EB52266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76399" y="1425955"/>
            <a:ext cx="3554413" cy="186055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Tree>
    <p:extLst>
      <p:ext uri="{BB962C8B-B14F-4D97-AF65-F5344CB8AC3E}">
        <p14:creationId xmlns:p14="http://schemas.microsoft.com/office/powerpoint/2010/main" val="26972496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4170EB5-FE1E-4C25-871C-64EF212BC948}"/>
              </a:ext>
            </a:extLst>
          </p:cNvPr>
          <p:cNvSpPr/>
          <p:nvPr/>
        </p:nvSpPr>
        <p:spPr>
          <a:xfrm>
            <a:off x="312235" y="842312"/>
            <a:ext cx="9593766" cy="498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7" name="Picture 3" descr="A close up of a logo&#10;&#10;Description automatically generated">
            <a:extLst>
              <a:ext uri="{FF2B5EF4-FFF2-40B4-BE49-F238E27FC236}">
                <a16:creationId xmlns:a16="http://schemas.microsoft.com/office/drawing/2014/main" id="{278C3439-77CF-4B42-837A-B9E82E9148B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400938" y="5932445"/>
            <a:ext cx="9505058" cy="84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1">
            <a:extLst>
              <a:ext uri="{FF2B5EF4-FFF2-40B4-BE49-F238E27FC236}">
                <a16:creationId xmlns:a16="http://schemas.microsoft.com/office/drawing/2014/main" id="{18584E63-D4BF-4C63-BEAB-BB26B4CAD7D7}"/>
              </a:ext>
            </a:extLst>
          </p:cNvPr>
          <p:cNvSpPr txBox="1">
            <a:spLocks/>
          </p:cNvSpPr>
          <p:nvPr/>
        </p:nvSpPr>
        <p:spPr bwMode="auto">
          <a:xfrm>
            <a:off x="200472" y="80305"/>
            <a:ext cx="8424239" cy="872896"/>
          </a:xfrm>
          <a:prstGeom prst="rect">
            <a:avLst/>
          </a:prstGeom>
        </p:spPr>
        <p:txBody>
          <a:bodyPr vert="horz" lIns="91440" tIns="45720" rIns="91440" bIns="45720" rtlCol="0" anchor="ctr">
            <a:noAutofit/>
          </a:bodyPr>
          <a:lstStyle>
            <a:defPPr>
              <a:defRPr lang="en-US"/>
            </a:defPPr>
            <a:lvl1pPr>
              <a:lnSpc>
                <a:spcPct val="90000"/>
              </a:lnSpc>
              <a:spcBef>
                <a:spcPct val="0"/>
              </a:spcBef>
              <a:defRPr sz="2400" b="1">
                <a:solidFill>
                  <a:schemeClr val="accent6">
                    <a:lumMod val="50000"/>
                  </a:schemeClr>
                </a:solidFill>
                <a:latin typeface="Arial" panose="020B0604020202020204" pitchFamily="34" charset="0"/>
                <a:ea typeface="+mj-ea"/>
                <a:cs typeface="Arial" panose="020B0604020202020204" pitchFamily="34" charset="0"/>
              </a:defRPr>
            </a:lvl1pPr>
          </a:lstStyle>
          <a:p>
            <a:endParaRPr lang="en-GB" dirty="0">
              <a:solidFill>
                <a:schemeClr val="tx1"/>
              </a:solidFill>
            </a:endParaRPr>
          </a:p>
        </p:txBody>
      </p:sp>
      <p:sp>
        <p:nvSpPr>
          <p:cNvPr id="16" name="Title 1">
            <a:extLst>
              <a:ext uri="{FF2B5EF4-FFF2-40B4-BE49-F238E27FC236}">
                <a16:creationId xmlns:a16="http://schemas.microsoft.com/office/drawing/2014/main" id="{3BACCD37-D9BB-447F-834E-2C9D4DAC89AC}"/>
              </a:ext>
            </a:extLst>
          </p:cNvPr>
          <p:cNvSpPr txBox="1">
            <a:spLocks/>
          </p:cNvSpPr>
          <p:nvPr/>
        </p:nvSpPr>
        <p:spPr>
          <a:xfrm>
            <a:off x="200471" y="177840"/>
            <a:ext cx="9340735" cy="65722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2400" b="1" dirty="0">
                <a:solidFill>
                  <a:srgbClr val="0070C0"/>
                </a:solidFill>
                <a:latin typeface="Century Gothic" panose="020B0502020202020204" pitchFamily="34" charset="0"/>
                <a:cs typeface="Arial" panose="020B0604020202020204" pitchFamily="34" charset="0"/>
              </a:rPr>
              <a:t>Actual feedback from companies after having participated in the Enterprise Development Programme</a:t>
            </a:r>
          </a:p>
        </p:txBody>
      </p:sp>
      <p:pic>
        <p:nvPicPr>
          <p:cNvPr id="11" name="Picture 10">
            <a:extLst>
              <a:ext uri="{FF2B5EF4-FFF2-40B4-BE49-F238E27FC236}">
                <a16:creationId xmlns:a16="http://schemas.microsoft.com/office/drawing/2014/main" id="{AEA9EFE4-20D2-4506-9273-4F4612BB185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0938" y="6046790"/>
            <a:ext cx="1856232" cy="417384"/>
          </a:xfrm>
          <a:prstGeom prst="rect">
            <a:avLst/>
          </a:prstGeom>
          <a:noFill/>
          <a:ln>
            <a:noFill/>
          </a:ln>
        </p:spPr>
      </p:pic>
      <p:sp>
        <p:nvSpPr>
          <p:cNvPr id="12" name="TextBox 11">
            <a:extLst>
              <a:ext uri="{FF2B5EF4-FFF2-40B4-BE49-F238E27FC236}">
                <a16:creationId xmlns:a16="http://schemas.microsoft.com/office/drawing/2014/main" id="{F4E4D76A-E529-4525-BA28-EBDEA3EA7B96}"/>
              </a:ext>
            </a:extLst>
          </p:cNvPr>
          <p:cNvSpPr txBox="1"/>
          <p:nvPr/>
        </p:nvSpPr>
        <p:spPr>
          <a:xfrm>
            <a:off x="2729864" y="3571495"/>
            <a:ext cx="6598940" cy="1514454"/>
          </a:xfrm>
          <a:prstGeom prst="rect">
            <a:avLst/>
          </a:prstGeom>
          <a:noFill/>
        </p:spPr>
        <p:txBody>
          <a:bodyPr wrap="square">
            <a:spAutoFit/>
          </a:bodyPr>
          <a:lstStyle/>
          <a:p>
            <a:pPr marR="0" algn="l">
              <a:lnSpc>
                <a:spcPct val="115000"/>
              </a:lnSpc>
              <a:spcBef>
                <a:spcPts val="0"/>
              </a:spcBef>
              <a:spcAft>
                <a:spcPts val="600"/>
              </a:spcAft>
            </a:pPr>
            <a:r>
              <a:rPr lang="en-US" sz="1100" b="1" dirty="0" err="1">
                <a:latin typeface="Century Gothic" panose="020B0502020202020204" pitchFamily="34" charset="0"/>
              </a:rPr>
              <a:t>Capewell</a:t>
            </a:r>
            <a:r>
              <a:rPr lang="en-US" sz="1100" b="1" dirty="0">
                <a:latin typeface="Century Gothic" panose="020B0502020202020204" pitchFamily="34" charset="0"/>
              </a:rPr>
              <a:t> Springs and Metal Pressings</a:t>
            </a:r>
            <a:r>
              <a:rPr lang="en-US" sz="1100" dirty="0">
                <a:latin typeface="Century Gothic" panose="020B0502020202020204" pitchFamily="34" charset="0"/>
              </a:rPr>
              <a:t>, a </a:t>
            </a:r>
            <a:r>
              <a:rPr lang="en-US" sz="1100" dirty="0" err="1">
                <a:latin typeface="Century Gothic" panose="020B0502020202020204" pitchFamily="34" charset="0"/>
              </a:rPr>
              <a:t>PtSA</a:t>
            </a:r>
            <a:r>
              <a:rPr lang="en-US" sz="1100" dirty="0">
                <a:latin typeface="Century Gothic" panose="020B0502020202020204" pitchFamily="34" charset="0"/>
              </a:rPr>
              <a:t> member, participated in a </a:t>
            </a:r>
            <a:r>
              <a:rPr lang="en-US" sz="1100" dirty="0" err="1">
                <a:latin typeface="Century Gothic" panose="020B0502020202020204" pitchFamily="34" charset="0"/>
              </a:rPr>
              <a:t>PtSA</a:t>
            </a:r>
            <a:r>
              <a:rPr lang="en-US" sz="1100" dirty="0">
                <a:latin typeface="Century Gothic" panose="020B0502020202020204" pitchFamily="34" charset="0"/>
              </a:rPr>
              <a:t> Enterprise Development Benchmarking and Intervention Project. The company, based in Cape Town, supplies a wide range of industries with various springs and metal pressings. </a:t>
            </a:r>
          </a:p>
          <a:p>
            <a:pPr marR="0" algn="l">
              <a:lnSpc>
                <a:spcPct val="115000"/>
              </a:lnSpc>
              <a:spcBef>
                <a:spcPts val="0"/>
              </a:spcBef>
              <a:spcAft>
                <a:spcPts val="600"/>
              </a:spcAft>
            </a:pPr>
            <a:r>
              <a:rPr lang="en-US" sz="1100" b="1" dirty="0">
                <a:solidFill>
                  <a:srgbClr val="0070C0"/>
                </a:solidFill>
                <a:latin typeface="Century Gothic" panose="020B0502020202020204" pitchFamily="34" charset="0"/>
              </a:rPr>
              <a:t>Emile Coetzee, owner of </a:t>
            </a:r>
            <a:r>
              <a:rPr lang="en-US" sz="1100" b="1" dirty="0" err="1">
                <a:solidFill>
                  <a:srgbClr val="0070C0"/>
                </a:solidFill>
                <a:latin typeface="Century Gothic" panose="020B0502020202020204" pitchFamily="34" charset="0"/>
              </a:rPr>
              <a:t>Capewell</a:t>
            </a:r>
            <a:r>
              <a:rPr lang="en-US" sz="1100" b="1" dirty="0">
                <a:solidFill>
                  <a:srgbClr val="0070C0"/>
                </a:solidFill>
                <a:latin typeface="Century Gothic" panose="020B0502020202020204" pitchFamily="34" charset="0"/>
              </a:rPr>
              <a:t> Springs and Metal Pressings, said “the benchmarking process really made us aware of our shortcoming and potentials. The subsequent intervention project was critical in helping the company with the implementation and execution of the needed changes. We are extremely positive about the results of this project”</a:t>
            </a:r>
            <a:r>
              <a:rPr lang="en-US" sz="1100" dirty="0">
                <a:solidFill>
                  <a:srgbClr val="0070C0"/>
                </a:solidFill>
                <a:latin typeface="Century Gothic" panose="020B0502020202020204" pitchFamily="34" charset="0"/>
              </a:rPr>
              <a:t>.</a:t>
            </a:r>
          </a:p>
        </p:txBody>
      </p:sp>
      <p:pic>
        <p:nvPicPr>
          <p:cNvPr id="6146" name="Picture 2">
            <a:extLst>
              <a:ext uri="{FF2B5EF4-FFF2-40B4-BE49-F238E27FC236}">
                <a16:creationId xmlns:a16="http://schemas.microsoft.com/office/drawing/2014/main" id="{DF36C9D2-6C11-48EF-8351-AE38EB5226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76399" y="1425955"/>
            <a:ext cx="3554413" cy="186055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2" name="Picture 2" descr="Wagner Systems">
            <a:extLst>
              <a:ext uri="{FF2B5EF4-FFF2-40B4-BE49-F238E27FC236}">
                <a16:creationId xmlns:a16="http://schemas.microsoft.com/office/drawing/2014/main" id="{B51CE536-ACA3-478B-9292-A40A36D7B6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0938" y="1177151"/>
            <a:ext cx="2417629" cy="5863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11790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4170EB5-FE1E-4C25-871C-64EF212BC948}"/>
              </a:ext>
            </a:extLst>
          </p:cNvPr>
          <p:cNvSpPr/>
          <p:nvPr/>
        </p:nvSpPr>
        <p:spPr>
          <a:xfrm>
            <a:off x="312235" y="842312"/>
            <a:ext cx="9593766" cy="498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7" name="Picture 3" descr="A close up of a logo&#10;&#10;Description automatically generated">
            <a:extLst>
              <a:ext uri="{FF2B5EF4-FFF2-40B4-BE49-F238E27FC236}">
                <a16:creationId xmlns:a16="http://schemas.microsoft.com/office/drawing/2014/main" id="{278C3439-77CF-4B42-837A-B9E82E9148B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400938" y="5932445"/>
            <a:ext cx="9505058" cy="84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1">
            <a:extLst>
              <a:ext uri="{FF2B5EF4-FFF2-40B4-BE49-F238E27FC236}">
                <a16:creationId xmlns:a16="http://schemas.microsoft.com/office/drawing/2014/main" id="{18584E63-D4BF-4C63-BEAB-BB26B4CAD7D7}"/>
              </a:ext>
            </a:extLst>
          </p:cNvPr>
          <p:cNvSpPr txBox="1">
            <a:spLocks/>
          </p:cNvSpPr>
          <p:nvPr/>
        </p:nvSpPr>
        <p:spPr bwMode="auto">
          <a:xfrm>
            <a:off x="200472" y="80305"/>
            <a:ext cx="8424239" cy="872896"/>
          </a:xfrm>
          <a:prstGeom prst="rect">
            <a:avLst/>
          </a:prstGeom>
        </p:spPr>
        <p:txBody>
          <a:bodyPr vert="horz" lIns="91440" tIns="45720" rIns="91440" bIns="45720" rtlCol="0" anchor="ctr">
            <a:noAutofit/>
          </a:bodyPr>
          <a:lstStyle>
            <a:defPPr>
              <a:defRPr lang="en-US"/>
            </a:defPPr>
            <a:lvl1pPr>
              <a:lnSpc>
                <a:spcPct val="90000"/>
              </a:lnSpc>
              <a:spcBef>
                <a:spcPct val="0"/>
              </a:spcBef>
              <a:defRPr sz="2400" b="1">
                <a:solidFill>
                  <a:schemeClr val="accent6">
                    <a:lumMod val="50000"/>
                  </a:schemeClr>
                </a:solidFill>
                <a:latin typeface="Arial" panose="020B0604020202020204" pitchFamily="34" charset="0"/>
                <a:ea typeface="+mj-ea"/>
                <a:cs typeface="Arial" panose="020B0604020202020204" pitchFamily="34" charset="0"/>
              </a:defRPr>
            </a:lvl1pPr>
          </a:lstStyle>
          <a:p>
            <a:endParaRPr lang="en-GB" dirty="0">
              <a:solidFill>
                <a:schemeClr val="tx1"/>
              </a:solidFill>
            </a:endParaRPr>
          </a:p>
        </p:txBody>
      </p:sp>
      <p:sp>
        <p:nvSpPr>
          <p:cNvPr id="6" name="TextBox 5">
            <a:extLst>
              <a:ext uri="{FF2B5EF4-FFF2-40B4-BE49-F238E27FC236}">
                <a16:creationId xmlns:a16="http://schemas.microsoft.com/office/drawing/2014/main" id="{050729F8-2AA2-4EBB-B59D-EF2C441E5F38}"/>
              </a:ext>
            </a:extLst>
          </p:cNvPr>
          <p:cNvSpPr txBox="1"/>
          <p:nvPr/>
        </p:nvSpPr>
        <p:spPr>
          <a:xfrm>
            <a:off x="962788" y="1796120"/>
            <a:ext cx="3695384" cy="1323417"/>
          </a:xfrm>
          <a:prstGeom prst="rect">
            <a:avLst/>
          </a:prstGeom>
          <a:noFill/>
          <a:ln>
            <a:noFill/>
          </a:ln>
        </p:spPr>
        <p:txBody>
          <a:bodyPr wrap="square" lIns="91418" tIns="45709" rIns="91418" bIns="45709" rtlCol="0">
            <a:spAutoFit/>
          </a:bodyPr>
          <a:lstStyle/>
          <a:p>
            <a:r>
              <a:rPr lang="en-ZA" sz="2000" b="1" i="1" dirty="0">
                <a:solidFill>
                  <a:srgbClr val="0070C0"/>
                </a:solidFill>
                <a:latin typeface="Century Gothic" panose="020B0502020202020204" pitchFamily="34" charset="0"/>
                <a:cs typeface="Arial" panose="020B0604020202020204" pitchFamily="34" charset="0"/>
              </a:rPr>
              <a:t>Gauteng Region</a:t>
            </a:r>
          </a:p>
          <a:p>
            <a:r>
              <a:rPr lang="en-ZA" sz="2000" i="1" dirty="0">
                <a:latin typeface="Century Gothic" panose="020B0502020202020204" pitchFamily="34" charset="0"/>
                <a:cs typeface="Arial" panose="020B0604020202020204" pitchFamily="34" charset="0"/>
              </a:rPr>
              <a:t>Francois Beetge</a:t>
            </a:r>
          </a:p>
          <a:p>
            <a:r>
              <a:rPr lang="en-ZA" sz="2000" i="1" dirty="0">
                <a:latin typeface="Century Gothic" panose="020B0502020202020204" pitchFamily="34" charset="0"/>
                <a:cs typeface="Arial" panose="020B0604020202020204" pitchFamily="34" charset="0"/>
              </a:rPr>
              <a:t>Mobile: +27 79 504 9387</a:t>
            </a:r>
          </a:p>
          <a:p>
            <a:r>
              <a:rPr lang="en-ZA" sz="2000" i="1" dirty="0">
                <a:latin typeface="Century Gothic" panose="020B0502020202020204" pitchFamily="34" charset="0"/>
                <a:cs typeface="Arial" panose="020B0604020202020204" pitchFamily="34" charset="0"/>
              </a:rPr>
              <a:t>Email: FrancoisB@PtSA.co.za</a:t>
            </a:r>
            <a:endParaRPr lang="en-ZA" sz="2000" dirty="0">
              <a:latin typeface="Century Gothic" panose="020B0502020202020204" pitchFamily="34" charset="0"/>
              <a:cs typeface="Arial" panose="020B0604020202020204" pitchFamily="34" charset="0"/>
            </a:endParaRPr>
          </a:p>
        </p:txBody>
      </p:sp>
      <p:sp>
        <p:nvSpPr>
          <p:cNvPr id="12" name="Title 1">
            <a:extLst>
              <a:ext uri="{FF2B5EF4-FFF2-40B4-BE49-F238E27FC236}">
                <a16:creationId xmlns:a16="http://schemas.microsoft.com/office/drawing/2014/main" id="{71F811BA-78C5-484D-B09A-0DE0A9CDDBD4}"/>
              </a:ext>
            </a:extLst>
          </p:cNvPr>
          <p:cNvSpPr txBox="1">
            <a:spLocks/>
          </p:cNvSpPr>
          <p:nvPr/>
        </p:nvSpPr>
        <p:spPr>
          <a:xfrm>
            <a:off x="200472" y="325956"/>
            <a:ext cx="8915400" cy="455317"/>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2800" b="1" dirty="0">
                <a:solidFill>
                  <a:srgbClr val="0070C0"/>
                </a:solidFill>
                <a:latin typeface="Century Gothic" panose="020B0502020202020204" pitchFamily="34" charset="0"/>
                <a:cs typeface="Arial" panose="020B0604020202020204" pitchFamily="34" charset="0"/>
              </a:rPr>
              <a:t>Contact Information</a:t>
            </a:r>
          </a:p>
        </p:txBody>
      </p:sp>
      <p:pic>
        <p:nvPicPr>
          <p:cNvPr id="10" name="Picture 9">
            <a:extLst>
              <a:ext uri="{FF2B5EF4-FFF2-40B4-BE49-F238E27FC236}">
                <a16:creationId xmlns:a16="http://schemas.microsoft.com/office/drawing/2014/main" id="{B26F76E3-FCEF-450E-BEE5-A39B614D05F1}"/>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0938" y="6046790"/>
            <a:ext cx="1856232" cy="417384"/>
          </a:xfrm>
          <a:prstGeom prst="rect">
            <a:avLst/>
          </a:prstGeom>
          <a:noFill/>
          <a:ln>
            <a:noFill/>
          </a:ln>
        </p:spPr>
      </p:pic>
      <p:sp>
        <p:nvSpPr>
          <p:cNvPr id="15" name="TextBox 14">
            <a:extLst>
              <a:ext uri="{FF2B5EF4-FFF2-40B4-BE49-F238E27FC236}">
                <a16:creationId xmlns:a16="http://schemas.microsoft.com/office/drawing/2014/main" id="{3C0AA776-084A-4FB9-8136-598405099C62}"/>
              </a:ext>
            </a:extLst>
          </p:cNvPr>
          <p:cNvSpPr txBox="1"/>
          <p:nvPr/>
        </p:nvSpPr>
        <p:spPr>
          <a:xfrm>
            <a:off x="962788" y="3640025"/>
            <a:ext cx="3903614" cy="1323417"/>
          </a:xfrm>
          <a:prstGeom prst="rect">
            <a:avLst/>
          </a:prstGeom>
          <a:noFill/>
          <a:ln>
            <a:noFill/>
          </a:ln>
        </p:spPr>
        <p:txBody>
          <a:bodyPr wrap="square" lIns="91418" tIns="45709" rIns="91418" bIns="45709" rtlCol="0">
            <a:spAutoFit/>
          </a:bodyPr>
          <a:lstStyle/>
          <a:p>
            <a:r>
              <a:rPr lang="en-ZA" sz="2000" b="1" i="1" dirty="0">
                <a:solidFill>
                  <a:srgbClr val="0070C0"/>
                </a:solidFill>
                <a:latin typeface="Century Gothic" panose="020B0502020202020204" pitchFamily="34" charset="0"/>
                <a:cs typeface="Arial" panose="020B0604020202020204" pitchFamily="34" charset="0"/>
              </a:rPr>
              <a:t>Eastern Cape Region</a:t>
            </a:r>
          </a:p>
          <a:p>
            <a:r>
              <a:rPr lang="en-ZA" sz="2000" i="1" dirty="0">
                <a:latin typeface="Century Gothic" panose="020B0502020202020204" pitchFamily="34" charset="0"/>
                <a:cs typeface="Arial" panose="020B0604020202020204" pitchFamily="34" charset="0"/>
              </a:rPr>
              <a:t>Theo van Rooyen</a:t>
            </a:r>
          </a:p>
          <a:p>
            <a:r>
              <a:rPr lang="en-ZA" sz="2000" i="1" dirty="0">
                <a:latin typeface="Century Gothic" panose="020B0502020202020204" pitchFamily="34" charset="0"/>
                <a:cs typeface="Arial" panose="020B0604020202020204" pitchFamily="34" charset="0"/>
              </a:rPr>
              <a:t>Mobile: +27 82 562 3087</a:t>
            </a:r>
          </a:p>
          <a:p>
            <a:r>
              <a:rPr lang="en-ZA" sz="2000" i="1" dirty="0">
                <a:latin typeface="Century Gothic" panose="020B0502020202020204" pitchFamily="34" charset="0"/>
                <a:cs typeface="Arial" panose="020B0604020202020204" pitchFamily="34" charset="0"/>
              </a:rPr>
              <a:t>Email: Theovr@PtSA.co.za</a:t>
            </a:r>
            <a:endParaRPr lang="en-ZA" sz="2000" dirty="0">
              <a:latin typeface="Century Gothic" panose="020B0502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6415D0F1-5897-4C24-B428-40CD1463C58D}"/>
              </a:ext>
            </a:extLst>
          </p:cNvPr>
          <p:cNvSpPr txBox="1"/>
          <p:nvPr/>
        </p:nvSpPr>
        <p:spPr>
          <a:xfrm>
            <a:off x="5602683" y="1807823"/>
            <a:ext cx="3903614" cy="1323417"/>
          </a:xfrm>
          <a:prstGeom prst="rect">
            <a:avLst/>
          </a:prstGeom>
          <a:noFill/>
          <a:ln>
            <a:noFill/>
          </a:ln>
        </p:spPr>
        <p:txBody>
          <a:bodyPr wrap="square" lIns="91418" tIns="45709" rIns="91418" bIns="45709" rtlCol="0">
            <a:spAutoFit/>
          </a:bodyPr>
          <a:lstStyle/>
          <a:p>
            <a:r>
              <a:rPr lang="en-ZA" sz="2000" b="1" i="1" dirty="0">
                <a:solidFill>
                  <a:srgbClr val="0070C0"/>
                </a:solidFill>
                <a:latin typeface="Century Gothic" panose="020B0502020202020204" pitchFamily="34" charset="0"/>
                <a:cs typeface="Arial" panose="020B0604020202020204" pitchFamily="34" charset="0"/>
              </a:rPr>
              <a:t>KwaZulu-Natal Region</a:t>
            </a:r>
          </a:p>
          <a:p>
            <a:r>
              <a:rPr lang="en-ZA" sz="2000" i="1" dirty="0">
                <a:latin typeface="Century Gothic" panose="020B0502020202020204" pitchFamily="34" charset="0"/>
                <a:cs typeface="Arial" panose="020B0604020202020204" pitchFamily="34" charset="0"/>
              </a:rPr>
              <a:t>Richard Kannigan</a:t>
            </a:r>
          </a:p>
          <a:p>
            <a:r>
              <a:rPr lang="en-ZA" sz="2000" i="1" dirty="0">
                <a:latin typeface="Century Gothic" panose="020B0502020202020204" pitchFamily="34" charset="0"/>
                <a:cs typeface="Arial" panose="020B0604020202020204" pitchFamily="34" charset="0"/>
              </a:rPr>
              <a:t>Mobile: +27 73 418 5044</a:t>
            </a:r>
          </a:p>
          <a:p>
            <a:r>
              <a:rPr lang="en-ZA" sz="2000" i="1" dirty="0">
                <a:latin typeface="Century Gothic" panose="020B0502020202020204" pitchFamily="34" charset="0"/>
                <a:cs typeface="Arial" panose="020B0604020202020204" pitchFamily="34" charset="0"/>
              </a:rPr>
              <a:t>Email: RichardK@PtSA.co.za</a:t>
            </a:r>
            <a:endParaRPr lang="en-ZA" sz="2000" dirty="0">
              <a:latin typeface="Century Gothic" panose="020B0502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632A0458-04DC-484B-9ABA-790BA22A7426}"/>
              </a:ext>
            </a:extLst>
          </p:cNvPr>
          <p:cNvSpPr txBox="1"/>
          <p:nvPr/>
        </p:nvSpPr>
        <p:spPr>
          <a:xfrm>
            <a:off x="5602683" y="3640008"/>
            <a:ext cx="3903614" cy="1323417"/>
          </a:xfrm>
          <a:prstGeom prst="rect">
            <a:avLst/>
          </a:prstGeom>
          <a:noFill/>
          <a:ln>
            <a:noFill/>
          </a:ln>
        </p:spPr>
        <p:txBody>
          <a:bodyPr wrap="square" lIns="91418" tIns="45709" rIns="91418" bIns="45709" rtlCol="0">
            <a:spAutoFit/>
          </a:bodyPr>
          <a:lstStyle/>
          <a:p>
            <a:r>
              <a:rPr lang="en-ZA" sz="2000" b="1" i="1" dirty="0">
                <a:solidFill>
                  <a:srgbClr val="0070C0"/>
                </a:solidFill>
                <a:latin typeface="Century Gothic" panose="020B0502020202020204" pitchFamily="34" charset="0"/>
                <a:cs typeface="Arial" panose="020B0604020202020204" pitchFamily="34" charset="0"/>
              </a:rPr>
              <a:t>Western Cape Region</a:t>
            </a:r>
          </a:p>
          <a:p>
            <a:r>
              <a:rPr lang="en-ZA" sz="2000" i="1" dirty="0">
                <a:latin typeface="Century Gothic" panose="020B0502020202020204" pitchFamily="34" charset="0"/>
                <a:cs typeface="Arial" panose="020B0604020202020204" pitchFamily="34" charset="0"/>
              </a:rPr>
              <a:t>André Davies</a:t>
            </a:r>
          </a:p>
          <a:p>
            <a:r>
              <a:rPr lang="en-ZA" sz="2000" i="1" dirty="0">
                <a:latin typeface="Century Gothic" panose="020B0502020202020204" pitchFamily="34" charset="0"/>
                <a:cs typeface="Arial" panose="020B0604020202020204" pitchFamily="34" charset="0"/>
              </a:rPr>
              <a:t>Mobile: +27 62 6013 1301</a:t>
            </a:r>
          </a:p>
          <a:p>
            <a:r>
              <a:rPr lang="en-ZA" sz="2000" i="1" dirty="0">
                <a:latin typeface="Century Gothic" panose="020B0502020202020204" pitchFamily="34" charset="0"/>
                <a:cs typeface="Arial" panose="020B0604020202020204" pitchFamily="34" charset="0"/>
              </a:rPr>
              <a:t>Email: AndreD@PtSA.co.za</a:t>
            </a:r>
            <a:endParaRPr lang="en-ZA" sz="2000" dirty="0">
              <a:latin typeface="Century Gothic" panose="020B0502020202020204" pitchFamily="34" charset="0"/>
              <a:cs typeface="Arial" panose="020B0604020202020204" pitchFamily="34" charset="0"/>
            </a:endParaRPr>
          </a:p>
        </p:txBody>
      </p:sp>
      <p:sp>
        <p:nvSpPr>
          <p:cNvPr id="11" name="Title 1">
            <a:extLst>
              <a:ext uri="{FF2B5EF4-FFF2-40B4-BE49-F238E27FC236}">
                <a16:creationId xmlns:a16="http://schemas.microsoft.com/office/drawing/2014/main" id="{0AE68B08-72A3-4270-9C08-20E55287D0D5}"/>
              </a:ext>
            </a:extLst>
          </p:cNvPr>
          <p:cNvSpPr txBox="1">
            <a:spLocks/>
          </p:cNvSpPr>
          <p:nvPr/>
        </p:nvSpPr>
        <p:spPr>
          <a:xfrm>
            <a:off x="200472" y="958437"/>
            <a:ext cx="8915400" cy="455317"/>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ZA" sz="2000" b="1" dirty="0">
                <a:latin typeface="Century Gothic" panose="020B0502020202020204" pitchFamily="34" charset="0"/>
                <a:cs typeface="Arial" panose="020B0604020202020204" pitchFamily="34" charset="0"/>
              </a:rPr>
              <a:t>In order to participate in these projects, contact the Regional Manager in your area:</a:t>
            </a:r>
          </a:p>
        </p:txBody>
      </p:sp>
    </p:spTree>
    <p:extLst>
      <p:ext uri="{BB962C8B-B14F-4D97-AF65-F5344CB8AC3E}">
        <p14:creationId xmlns:p14="http://schemas.microsoft.com/office/powerpoint/2010/main" val="4555041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descr="A close up of a logo&#10;&#10;Description automatically generated">
            <a:extLst>
              <a:ext uri="{FF2B5EF4-FFF2-40B4-BE49-F238E27FC236}">
                <a16:creationId xmlns:a16="http://schemas.microsoft.com/office/drawing/2014/main" id="{278C3439-77CF-4B42-837A-B9E82E9148B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400938" y="5932445"/>
            <a:ext cx="9505058" cy="84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a:extLst>
              <a:ext uri="{FF2B5EF4-FFF2-40B4-BE49-F238E27FC236}">
                <a16:creationId xmlns:a16="http://schemas.microsoft.com/office/drawing/2014/main" id="{5E2D182A-98FC-449E-B55A-7FC2CA8BFCE5}"/>
              </a:ext>
            </a:extLst>
          </p:cNvPr>
          <p:cNvGrpSpPr/>
          <p:nvPr/>
        </p:nvGrpSpPr>
        <p:grpSpPr>
          <a:xfrm>
            <a:off x="200472" y="106037"/>
            <a:ext cx="9705529" cy="681195"/>
            <a:chOff x="200472" y="106037"/>
            <a:chExt cx="9705529" cy="681195"/>
          </a:xfrm>
        </p:grpSpPr>
        <p:sp>
          <p:nvSpPr>
            <p:cNvPr id="8" name="Rectangle 7">
              <a:extLst>
                <a:ext uri="{FF2B5EF4-FFF2-40B4-BE49-F238E27FC236}">
                  <a16:creationId xmlns:a16="http://schemas.microsoft.com/office/drawing/2014/main" id="{84170EB5-FE1E-4C25-871C-64EF212BC948}"/>
                </a:ext>
              </a:extLst>
            </p:cNvPr>
            <p:cNvSpPr/>
            <p:nvPr/>
          </p:nvSpPr>
          <p:spPr>
            <a:xfrm>
              <a:off x="312235" y="737382"/>
              <a:ext cx="9593766" cy="498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0" name="TextBox 9">
              <a:extLst>
                <a:ext uri="{FF2B5EF4-FFF2-40B4-BE49-F238E27FC236}">
                  <a16:creationId xmlns:a16="http://schemas.microsoft.com/office/drawing/2014/main" id="{4D6BC536-E9A0-4FE2-9D7E-5E3DAD68CE68}"/>
                </a:ext>
              </a:extLst>
            </p:cNvPr>
            <p:cNvSpPr txBox="1"/>
            <p:nvPr/>
          </p:nvSpPr>
          <p:spPr>
            <a:xfrm>
              <a:off x="200472" y="106037"/>
              <a:ext cx="9621672" cy="461643"/>
            </a:xfrm>
            <a:prstGeom prst="rect">
              <a:avLst/>
            </a:prstGeom>
            <a:noFill/>
          </p:spPr>
          <p:txBody>
            <a:bodyPr wrap="square" lIns="91418" tIns="45709" rIns="91418" bIns="45709" rtlCol="0">
              <a:spAutoFit/>
            </a:bodyPr>
            <a:lstStyle/>
            <a:p>
              <a:r>
                <a:rPr lang="en-GB" sz="2400" b="1" dirty="0">
                  <a:solidFill>
                    <a:srgbClr val="0070C0"/>
                  </a:solidFill>
                  <a:latin typeface="Century Gothic" panose="020B0502020202020204" pitchFamily="34" charset="0"/>
                  <a:cs typeface="Arial" panose="020B0604020202020204" pitchFamily="34" charset="0"/>
                </a:rPr>
                <a:t>About the Production Technologies Association of South Africa</a:t>
              </a:r>
              <a:endParaRPr lang="en-ZA" sz="2400" b="1" dirty="0">
                <a:solidFill>
                  <a:srgbClr val="0070C0"/>
                </a:solidFill>
                <a:latin typeface="Century Gothic" panose="020B0502020202020204" pitchFamily="34" charset="0"/>
                <a:cs typeface="Arial" panose="020B0604020202020204" pitchFamily="34" charset="0"/>
              </a:endParaRPr>
            </a:p>
          </p:txBody>
        </p:sp>
      </p:grpSp>
      <p:sp>
        <p:nvSpPr>
          <p:cNvPr id="11" name="Rectangle 10"/>
          <p:cNvSpPr/>
          <p:nvPr/>
        </p:nvSpPr>
        <p:spPr>
          <a:xfrm>
            <a:off x="312235" y="1385059"/>
            <a:ext cx="9213324" cy="3483389"/>
          </a:xfrm>
          <a:prstGeom prst="rect">
            <a:avLst/>
          </a:prstGeom>
        </p:spPr>
        <p:txBody>
          <a:bodyPr wrap="square">
            <a:spAutoFit/>
          </a:bodyPr>
          <a:lstStyle/>
          <a:p>
            <a:pPr>
              <a:lnSpc>
                <a:spcPct val="107000"/>
              </a:lnSpc>
              <a:spcAft>
                <a:spcPts val="600"/>
              </a:spcAft>
            </a:pPr>
            <a:r>
              <a:rPr lang="en-GB" b="1" dirty="0">
                <a:effectLst/>
                <a:latin typeface="Century Gothic" panose="020B0502020202020204" pitchFamily="34" charset="0"/>
                <a:ea typeface="Calibri" panose="020F0502020204030204" pitchFamily="34" charset="0"/>
                <a:cs typeface="Times New Roman" panose="02020603050405020304" pitchFamily="18" charset="0"/>
              </a:rPr>
              <a:t>The Production Technologies Association of South Africa (PtSA), </a:t>
            </a:r>
            <a:r>
              <a:rPr lang="en-GB" dirty="0">
                <a:effectLst/>
                <a:latin typeface="Century Gothic" panose="020B0502020202020204" pitchFamily="34" charset="0"/>
                <a:ea typeface="Calibri" panose="020F0502020204030204" pitchFamily="34" charset="0"/>
                <a:cs typeface="Times New Roman" panose="02020603050405020304" pitchFamily="18" charset="0"/>
              </a:rPr>
              <a:t>established in 2006, is a membership-based organisation with the mission of promoting, protecting and supporting the collective interests of the Tool, Die, Mould and Special Machining industries (TDM Industry) of South Africa, enabling the development and sustainability of all manufacturing sectors.</a:t>
            </a:r>
            <a:endParaRPr lang="en-ZA" dirty="0">
              <a:effectLst/>
              <a:latin typeface="Century Gothic" panose="020B0502020202020204" pitchFamily="34" charset="0"/>
              <a:ea typeface="Calibri" panose="020F0502020204030204" pitchFamily="34" charset="0"/>
              <a:cs typeface="Times New Roman" panose="02020603050405020304" pitchFamily="18" charset="0"/>
            </a:endParaRPr>
          </a:p>
          <a:p>
            <a:pPr>
              <a:lnSpc>
                <a:spcPct val="107000"/>
              </a:lnSpc>
              <a:spcAft>
                <a:spcPts val="600"/>
              </a:spcAft>
            </a:pPr>
            <a:r>
              <a:rPr lang="en-GB" dirty="0">
                <a:effectLst/>
                <a:latin typeface="Century Gothic" panose="020B0502020202020204" pitchFamily="34" charset="0"/>
                <a:ea typeface="Calibri" panose="020F0502020204030204" pitchFamily="34" charset="0"/>
                <a:cs typeface="Times New Roman" panose="02020603050405020304" pitchFamily="18" charset="0"/>
              </a:rPr>
              <a:t> </a:t>
            </a:r>
            <a:endParaRPr lang="en-ZA" dirty="0">
              <a:effectLst/>
              <a:latin typeface="Century Gothic" panose="020B0502020202020204" pitchFamily="34" charset="0"/>
              <a:ea typeface="Calibri" panose="020F0502020204030204" pitchFamily="34" charset="0"/>
              <a:cs typeface="Times New Roman" panose="02020603050405020304" pitchFamily="18" charset="0"/>
            </a:endParaRPr>
          </a:p>
          <a:p>
            <a:pPr>
              <a:lnSpc>
                <a:spcPct val="107000"/>
              </a:lnSpc>
              <a:spcAft>
                <a:spcPts val="600"/>
              </a:spcAft>
            </a:pPr>
            <a:r>
              <a:rPr lang="en-GB" dirty="0">
                <a:effectLst/>
                <a:latin typeface="Century Gothic" panose="020B0502020202020204" pitchFamily="34" charset="0"/>
                <a:ea typeface="Calibri" panose="020F0502020204030204" pitchFamily="34" charset="0"/>
                <a:cs typeface="Times New Roman" panose="02020603050405020304" pitchFamily="18" charset="0"/>
              </a:rPr>
              <a:t>As part of this mission, the Association has entered into a partnership agreement with government (</a:t>
            </a:r>
            <a:r>
              <a:rPr lang="en-GB" b="1" dirty="0">
                <a:latin typeface="Century Gothic" panose="020B0502020202020204" pitchFamily="34" charset="0"/>
                <a:ea typeface="Calibri" panose="020F0502020204030204" pitchFamily="34" charset="0"/>
                <a:cs typeface="Times New Roman" panose="02020603050405020304" pitchFamily="18" charset="0"/>
              </a:rPr>
              <a:t>represented by the Department of Trade Industry and Competition</a:t>
            </a:r>
            <a:r>
              <a:rPr lang="en-GB" dirty="0">
                <a:effectLst/>
                <a:latin typeface="Century Gothic" panose="020B0502020202020204" pitchFamily="34" charset="0"/>
                <a:ea typeface="Calibri" panose="020F0502020204030204" pitchFamily="34" charset="0"/>
                <a:cs typeface="Times New Roman" panose="02020603050405020304" pitchFamily="18" charset="0"/>
              </a:rPr>
              <a:t>), the INTSIMBI Future Production Technologies Initiative, </a:t>
            </a:r>
            <a:r>
              <a:rPr lang="en-GB" b="1" dirty="0">
                <a:effectLst/>
                <a:latin typeface="Century Gothic" panose="020B0502020202020204" pitchFamily="34" charset="0"/>
                <a:ea typeface="Calibri" panose="020F0502020204030204" pitchFamily="34" charset="0"/>
                <a:cs typeface="Times New Roman" panose="02020603050405020304" pitchFamily="18" charset="0"/>
              </a:rPr>
              <a:t>to develop programmes </a:t>
            </a:r>
            <a:r>
              <a:rPr lang="en-GB" dirty="0">
                <a:effectLst/>
                <a:latin typeface="Century Gothic" panose="020B0502020202020204" pitchFamily="34" charset="0"/>
                <a:ea typeface="Calibri" panose="020F0502020204030204" pitchFamily="34" charset="0"/>
                <a:cs typeface="Times New Roman" panose="02020603050405020304" pitchFamily="18" charset="0"/>
              </a:rPr>
              <a:t>to address the needs of the TDM Industry in order to rehabilitate and grow the industry for the benefit of the manufacturing sector in South Africa.</a:t>
            </a:r>
            <a:endParaRPr lang="en-ZA" dirty="0">
              <a:effectLst/>
              <a:latin typeface="Century Gothic" panose="020B0502020202020204" pitchFamily="34" charset="0"/>
              <a:ea typeface="Calibri" panose="020F0502020204030204" pitchFamily="34" charset="0"/>
              <a:cs typeface="Times New Roman" panose="02020603050405020304" pitchFamily="18" charset="0"/>
            </a:endParaRPr>
          </a:p>
        </p:txBody>
      </p:sp>
      <p:pic>
        <p:nvPicPr>
          <p:cNvPr id="12" name="Picture 11">
            <a:extLst>
              <a:ext uri="{FF2B5EF4-FFF2-40B4-BE49-F238E27FC236}">
                <a16:creationId xmlns:a16="http://schemas.microsoft.com/office/drawing/2014/main" id="{6937775A-84DD-49C4-9FF1-3352D916E4D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0938" y="6046790"/>
            <a:ext cx="1856232" cy="417384"/>
          </a:xfrm>
          <a:prstGeom prst="rect">
            <a:avLst/>
          </a:prstGeom>
          <a:noFill/>
          <a:ln>
            <a:noFill/>
          </a:ln>
        </p:spPr>
      </p:pic>
    </p:spTree>
    <p:extLst>
      <p:ext uri="{BB962C8B-B14F-4D97-AF65-F5344CB8AC3E}">
        <p14:creationId xmlns:p14="http://schemas.microsoft.com/office/powerpoint/2010/main" val="35439891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descr="A close up of a logo&#10;&#10;Description automatically generated">
            <a:extLst>
              <a:ext uri="{FF2B5EF4-FFF2-40B4-BE49-F238E27FC236}">
                <a16:creationId xmlns:a16="http://schemas.microsoft.com/office/drawing/2014/main" id="{278C3439-77CF-4B42-837A-B9E82E9148B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400938" y="5932445"/>
            <a:ext cx="9505058" cy="84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p:nvSpPr>
        <p:spPr>
          <a:xfrm>
            <a:off x="450623" y="1289691"/>
            <a:ext cx="9302028" cy="3988721"/>
          </a:xfrm>
          <a:prstGeom prst="rect">
            <a:avLst/>
          </a:prstGeom>
        </p:spPr>
        <p:txBody>
          <a:bodyPr wrap="square">
            <a:spAutoFit/>
          </a:bodyPr>
          <a:lstStyle/>
          <a:p>
            <a:pPr>
              <a:spcAft>
                <a:spcPts val="600"/>
              </a:spcAft>
            </a:pPr>
            <a:endParaRPr lang="en-GB" sz="1100" dirty="0">
              <a:latin typeface="Century Gothic" panose="020B0502020202020204" pitchFamily="34" charset="0"/>
            </a:endParaRPr>
          </a:p>
          <a:p>
            <a:pPr>
              <a:spcAft>
                <a:spcPts val="600"/>
              </a:spcAft>
            </a:pPr>
            <a:r>
              <a:rPr lang="en-GB" sz="2000" b="1" dirty="0">
                <a:effectLst/>
                <a:latin typeface="Century Gothic" panose="020B0502020202020204" pitchFamily="34" charset="0"/>
                <a:ea typeface="Calibri" panose="020F0502020204030204" pitchFamily="34" charset="0"/>
                <a:cs typeface="Times New Roman" panose="02020603050405020304" pitchFamily="18" charset="0"/>
              </a:rPr>
              <a:t>These programmes are divided into </a:t>
            </a:r>
            <a:r>
              <a:rPr lang="en-GB" sz="2000" b="1" dirty="0">
                <a:latin typeface="Century Gothic" panose="020B0502020202020204" pitchFamily="34" charset="0"/>
                <a:ea typeface="Calibri" panose="020F0502020204030204" pitchFamily="34" charset="0"/>
                <a:cs typeface="Times New Roman" panose="02020603050405020304" pitchFamily="18" charset="0"/>
              </a:rPr>
              <a:t>two primary sections</a:t>
            </a:r>
            <a:r>
              <a:rPr lang="en-GB" sz="2000" b="1" dirty="0">
                <a:effectLst/>
                <a:latin typeface="Century Gothic" panose="020B0502020202020204" pitchFamily="34" charset="0"/>
                <a:ea typeface="Calibri" panose="020F0502020204030204" pitchFamily="34" charset="0"/>
                <a:cs typeface="Times New Roman" panose="02020603050405020304" pitchFamily="18" charset="0"/>
              </a:rPr>
              <a:t>:</a:t>
            </a:r>
          </a:p>
          <a:p>
            <a:pPr>
              <a:spcAft>
                <a:spcPts val="600"/>
              </a:spcAft>
            </a:pPr>
            <a:endParaRPr lang="en-ZA" sz="2000" b="1" dirty="0">
              <a:effectLst/>
              <a:latin typeface="Century Gothic" panose="020B0502020202020204" pitchFamily="34" charset="0"/>
              <a:ea typeface="Calibri" panose="020F0502020204030204" pitchFamily="34" charset="0"/>
              <a:cs typeface="Times New Roman" panose="02020603050405020304" pitchFamily="18" charset="0"/>
            </a:endParaRPr>
          </a:p>
          <a:p>
            <a:pPr marL="342900" lvl="0" indent="-342900">
              <a:spcAft>
                <a:spcPts val="600"/>
              </a:spcAft>
              <a:buFont typeface="Symbol" panose="05050102010706020507" pitchFamily="18" charset="2"/>
              <a:buChar char=""/>
            </a:pPr>
            <a:r>
              <a:rPr lang="en-GB" sz="2000" dirty="0">
                <a:effectLst/>
                <a:latin typeface="Century Gothic" panose="020B0502020202020204" pitchFamily="34" charset="0"/>
                <a:ea typeface="Calibri" panose="020F0502020204030204" pitchFamily="34" charset="0"/>
                <a:cs typeface="Times New Roman" panose="02020603050405020304" pitchFamily="18" charset="0"/>
              </a:rPr>
              <a:t>Enterprise Development</a:t>
            </a:r>
            <a:endParaRPr lang="en-ZA" sz="2000" dirty="0">
              <a:effectLst/>
              <a:latin typeface="Century Gothic" panose="020B0502020202020204" pitchFamily="34" charset="0"/>
              <a:ea typeface="Calibri" panose="020F0502020204030204" pitchFamily="34" charset="0"/>
              <a:cs typeface="Times New Roman" panose="02020603050405020304" pitchFamily="18" charset="0"/>
            </a:endParaRPr>
          </a:p>
          <a:p>
            <a:pPr marL="342900" lvl="0" indent="-342900">
              <a:spcAft>
                <a:spcPts val="600"/>
              </a:spcAft>
              <a:buFont typeface="Symbol" panose="05050102010706020507" pitchFamily="18" charset="2"/>
              <a:buChar char=""/>
            </a:pPr>
            <a:r>
              <a:rPr lang="en-GB" sz="2000" dirty="0">
                <a:effectLst/>
                <a:latin typeface="Century Gothic" panose="020B0502020202020204" pitchFamily="34" charset="0"/>
                <a:ea typeface="Calibri" panose="020F0502020204030204" pitchFamily="34" charset="0"/>
                <a:cs typeface="Times New Roman" panose="02020603050405020304" pitchFamily="18" charset="0"/>
              </a:rPr>
              <a:t>Skills Development</a:t>
            </a:r>
            <a:endParaRPr lang="en-ZA" sz="2000" dirty="0">
              <a:effectLst/>
              <a:latin typeface="Century Gothic" panose="020B0502020202020204" pitchFamily="34" charset="0"/>
              <a:ea typeface="Calibri" panose="020F0502020204030204" pitchFamily="34" charset="0"/>
              <a:cs typeface="Times New Roman" panose="02020603050405020304" pitchFamily="18" charset="0"/>
            </a:endParaRPr>
          </a:p>
          <a:p>
            <a:pPr>
              <a:lnSpc>
                <a:spcPct val="150000"/>
              </a:lnSpc>
              <a:spcBef>
                <a:spcPts val="600"/>
              </a:spcBef>
              <a:spcAft>
                <a:spcPts val="600"/>
              </a:spcAft>
            </a:pPr>
            <a:endParaRPr lang="en-ZA" sz="300" dirty="0">
              <a:latin typeface="Century Gothic" panose="020B0502020202020204" pitchFamily="34" charset="0"/>
              <a:ea typeface="Calibri" panose="020F0502020204030204" pitchFamily="34" charset="0"/>
              <a:cs typeface="Times New Roman" panose="02020603050405020304" pitchFamily="18" charset="0"/>
            </a:endParaRPr>
          </a:p>
          <a:p>
            <a:pPr>
              <a:lnSpc>
                <a:spcPct val="150000"/>
              </a:lnSpc>
              <a:spcBef>
                <a:spcPts val="600"/>
              </a:spcBef>
              <a:spcAft>
                <a:spcPts val="600"/>
              </a:spcAft>
            </a:pPr>
            <a:r>
              <a:rPr lang="en-GB" sz="2000" dirty="0">
                <a:effectLst/>
                <a:latin typeface="Century Gothic" panose="020B0502020202020204" pitchFamily="34" charset="0"/>
                <a:ea typeface="Calibri" panose="020F0502020204030204" pitchFamily="34" charset="0"/>
                <a:cs typeface="Times New Roman" panose="02020603050405020304" pitchFamily="18" charset="0"/>
              </a:rPr>
              <a:t>The INTSIMBI Future Production Technologies Initiative programmes are implemented by the  </a:t>
            </a:r>
            <a:r>
              <a:rPr lang="en-GB" sz="2000" b="1" dirty="0">
                <a:effectLst/>
                <a:latin typeface="Century Gothic" panose="020B0502020202020204" pitchFamily="34" charset="0"/>
                <a:ea typeface="Calibri" panose="020F0502020204030204" pitchFamily="34" charset="0"/>
                <a:cs typeface="Times New Roman" panose="02020603050405020304" pitchFamily="18" charset="0"/>
              </a:rPr>
              <a:t>PtSA wholly owned project management and implementation agency</a:t>
            </a:r>
            <a:r>
              <a:rPr lang="en-GB" sz="2000" dirty="0">
                <a:effectLst/>
                <a:latin typeface="Century Gothic" panose="020B0502020202020204" pitchFamily="34" charset="0"/>
                <a:ea typeface="Calibri" panose="020F0502020204030204" pitchFamily="34" charset="0"/>
                <a:cs typeface="Times New Roman" panose="02020603050405020304" pitchFamily="18" charset="0"/>
              </a:rPr>
              <a:t>, National Technologies Implementation Platform (Pty) Ltd.</a:t>
            </a:r>
            <a:endParaRPr lang="en-ZA" sz="2000" dirty="0">
              <a:effectLst/>
              <a:latin typeface="Century Gothic" panose="020B0502020202020204" pitchFamily="34" charset="0"/>
              <a:ea typeface="Calibri" panose="020F0502020204030204" pitchFamily="34" charset="0"/>
              <a:cs typeface="Times New Roman" panose="02020603050405020304" pitchFamily="18" charset="0"/>
            </a:endParaRPr>
          </a:p>
        </p:txBody>
      </p:sp>
      <p:sp>
        <p:nvSpPr>
          <p:cNvPr id="16" name="Rectangle 15">
            <a:extLst>
              <a:ext uri="{FF2B5EF4-FFF2-40B4-BE49-F238E27FC236}">
                <a16:creationId xmlns:a16="http://schemas.microsoft.com/office/drawing/2014/main" id="{21D9A6C2-42BB-4E79-A0D8-02E49941A582}"/>
              </a:ext>
            </a:extLst>
          </p:cNvPr>
          <p:cNvSpPr/>
          <p:nvPr/>
        </p:nvSpPr>
        <p:spPr>
          <a:xfrm>
            <a:off x="312235" y="737382"/>
            <a:ext cx="9593766" cy="498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7" name="TextBox 16">
            <a:extLst>
              <a:ext uri="{FF2B5EF4-FFF2-40B4-BE49-F238E27FC236}">
                <a16:creationId xmlns:a16="http://schemas.microsoft.com/office/drawing/2014/main" id="{B2EDCD12-9D47-4820-8A8D-0BE6CE32140B}"/>
              </a:ext>
            </a:extLst>
          </p:cNvPr>
          <p:cNvSpPr txBox="1"/>
          <p:nvPr/>
        </p:nvSpPr>
        <p:spPr>
          <a:xfrm>
            <a:off x="200472" y="106037"/>
            <a:ext cx="9621672" cy="553976"/>
          </a:xfrm>
          <a:prstGeom prst="rect">
            <a:avLst/>
          </a:prstGeom>
          <a:noFill/>
        </p:spPr>
        <p:txBody>
          <a:bodyPr wrap="square" lIns="91418" tIns="45709" rIns="91418" bIns="45709" rtlCol="0">
            <a:spAutoFit/>
          </a:bodyPr>
          <a:lstStyle/>
          <a:p>
            <a:r>
              <a:rPr lang="en-GB" sz="3000" b="1" dirty="0">
                <a:solidFill>
                  <a:srgbClr val="0070C0"/>
                </a:solidFill>
                <a:latin typeface="Century Gothic" panose="020B0502020202020204" pitchFamily="34" charset="0"/>
                <a:cs typeface="Arial" panose="020B0604020202020204" pitchFamily="34" charset="0"/>
              </a:rPr>
              <a:t>P</a:t>
            </a:r>
            <a:r>
              <a:rPr lang="en-ZA" sz="3000" b="1" dirty="0">
                <a:solidFill>
                  <a:srgbClr val="0070C0"/>
                </a:solidFill>
                <a:latin typeface="Century Gothic" panose="020B0502020202020204" pitchFamily="34" charset="0"/>
                <a:cs typeface="Arial" panose="020B0604020202020204" pitchFamily="34" charset="0"/>
              </a:rPr>
              <a:t>rogrammes offered to the TDM Industry</a:t>
            </a:r>
          </a:p>
        </p:txBody>
      </p:sp>
      <p:pic>
        <p:nvPicPr>
          <p:cNvPr id="8" name="Picture 7">
            <a:extLst>
              <a:ext uri="{FF2B5EF4-FFF2-40B4-BE49-F238E27FC236}">
                <a16:creationId xmlns:a16="http://schemas.microsoft.com/office/drawing/2014/main" id="{3100F64C-124A-4F1B-9725-FFC1A38E71C8}"/>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0938" y="6046790"/>
            <a:ext cx="1856232" cy="417384"/>
          </a:xfrm>
          <a:prstGeom prst="rect">
            <a:avLst/>
          </a:prstGeom>
          <a:noFill/>
          <a:ln>
            <a:noFill/>
          </a:ln>
        </p:spPr>
      </p:pic>
    </p:spTree>
    <p:extLst>
      <p:ext uri="{BB962C8B-B14F-4D97-AF65-F5344CB8AC3E}">
        <p14:creationId xmlns:p14="http://schemas.microsoft.com/office/powerpoint/2010/main" val="8108553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descr="A close up of a logo&#10;&#10;Description automatically generated">
            <a:extLst>
              <a:ext uri="{FF2B5EF4-FFF2-40B4-BE49-F238E27FC236}">
                <a16:creationId xmlns:a16="http://schemas.microsoft.com/office/drawing/2014/main" id="{278C3439-77CF-4B42-837A-B9E82E9148B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400938" y="5932445"/>
            <a:ext cx="9505058" cy="84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1">
            <a:extLst>
              <a:ext uri="{FF2B5EF4-FFF2-40B4-BE49-F238E27FC236}">
                <a16:creationId xmlns:a16="http://schemas.microsoft.com/office/drawing/2014/main" id="{18584E63-D4BF-4C63-BEAB-BB26B4CAD7D7}"/>
              </a:ext>
            </a:extLst>
          </p:cNvPr>
          <p:cNvSpPr txBox="1">
            <a:spLocks/>
          </p:cNvSpPr>
          <p:nvPr/>
        </p:nvSpPr>
        <p:spPr bwMode="auto">
          <a:xfrm>
            <a:off x="200472" y="80305"/>
            <a:ext cx="8424239" cy="872896"/>
          </a:xfrm>
          <a:prstGeom prst="rect">
            <a:avLst/>
          </a:prstGeom>
        </p:spPr>
        <p:txBody>
          <a:bodyPr vert="horz" lIns="91440" tIns="45720" rIns="91440" bIns="45720" rtlCol="0" anchor="ctr">
            <a:noAutofit/>
          </a:bodyPr>
          <a:lstStyle>
            <a:defPPr>
              <a:defRPr lang="en-US"/>
            </a:defPPr>
            <a:lvl1pPr>
              <a:lnSpc>
                <a:spcPct val="90000"/>
              </a:lnSpc>
              <a:spcBef>
                <a:spcPct val="0"/>
              </a:spcBef>
              <a:defRPr sz="2400" b="1">
                <a:solidFill>
                  <a:schemeClr val="accent6">
                    <a:lumMod val="50000"/>
                  </a:schemeClr>
                </a:solidFill>
                <a:latin typeface="Arial" panose="020B0604020202020204" pitchFamily="34" charset="0"/>
                <a:ea typeface="+mj-ea"/>
                <a:cs typeface="Arial" panose="020B0604020202020204" pitchFamily="34" charset="0"/>
              </a:defRPr>
            </a:lvl1pPr>
          </a:lstStyle>
          <a:p>
            <a:endParaRPr lang="en-GB" dirty="0">
              <a:solidFill>
                <a:schemeClr val="tx1"/>
              </a:solidFill>
            </a:endParaRPr>
          </a:p>
        </p:txBody>
      </p:sp>
      <p:sp>
        <p:nvSpPr>
          <p:cNvPr id="6" name="Title 1">
            <a:extLst>
              <a:ext uri="{FF2B5EF4-FFF2-40B4-BE49-F238E27FC236}">
                <a16:creationId xmlns:a16="http://schemas.microsoft.com/office/drawing/2014/main" id="{C2C57C41-1765-488A-96B6-2D9CE087380C}"/>
              </a:ext>
            </a:extLst>
          </p:cNvPr>
          <p:cNvSpPr txBox="1">
            <a:spLocks/>
          </p:cNvSpPr>
          <p:nvPr/>
        </p:nvSpPr>
        <p:spPr>
          <a:xfrm>
            <a:off x="200472" y="188732"/>
            <a:ext cx="9537341" cy="1627841"/>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ZA" sz="3000" b="1" dirty="0">
                <a:solidFill>
                  <a:srgbClr val="0070C0"/>
                </a:solidFill>
                <a:latin typeface="Century Gothic" panose="020B0502020202020204" pitchFamily="34" charset="0"/>
                <a:cs typeface="Arial" panose="020B0604020202020204" pitchFamily="34" charset="0"/>
              </a:rPr>
              <a:t>Enterprise Development Programme</a:t>
            </a:r>
          </a:p>
        </p:txBody>
      </p:sp>
      <p:sp>
        <p:nvSpPr>
          <p:cNvPr id="17" name="Title 1">
            <a:extLst>
              <a:ext uri="{FF2B5EF4-FFF2-40B4-BE49-F238E27FC236}">
                <a16:creationId xmlns:a16="http://schemas.microsoft.com/office/drawing/2014/main" id="{30F0FE15-F218-442A-AE64-A246B7FD949F}"/>
              </a:ext>
            </a:extLst>
          </p:cNvPr>
          <p:cNvSpPr txBox="1">
            <a:spLocks/>
          </p:cNvSpPr>
          <p:nvPr/>
        </p:nvSpPr>
        <p:spPr>
          <a:xfrm>
            <a:off x="641699" y="3060434"/>
            <a:ext cx="2384472" cy="62393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lvl="0" defTabSz="914400" rtl="0" eaLnBrk="1" fontAlgn="auto" latinLnBrk="0" hangingPunct="1">
              <a:lnSpc>
                <a:spcPct val="100000"/>
              </a:lnSpc>
              <a:spcBef>
                <a:spcPct val="0"/>
              </a:spcBef>
              <a:spcAft>
                <a:spcPts val="600"/>
              </a:spcAft>
              <a:buClrTx/>
              <a:buSzTx/>
              <a:tabLst/>
              <a:defRPr/>
            </a:pPr>
            <a:r>
              <a:rPr kumimoji="0" lang="en-ZA" sz="2000" b="1" i="0" u="none" strike="noStrike" kern="1200" cap="none" spc="0" normalizeH="0" baseline="0" noProof="0" dirty="0">
                <a:ln>
                  <a:noFill/>
                </a:ln>
                <a:effectLst/>
                <a:uLnTx/>
                <a:uFillTx/>
                <a:latin typeface="Century Gothic" panose="020B0502020202020204" pitchFamily="34" charset="0"/>
                <a:cs typeface="Arial" panose="020B0604020202020204" pitchFamily="34" charset="0"/>
              </a:rPr>
              <a:t>Benchmarking</a:t>
            </a:r>
          </a:p>
        </p:txBody>
      </p:sp>
      <p:sp>
        <p:nvSpPr>
          <p:cNvPr id="18" name="Title 1">
            <a:extLst>
              <a:ext uri="{FF2B5EF4-FFF2-40B4-BE49-F238E27FC236}">
                <a16:creationId xmlns:a16="http://schemas.microsoft.com/office/drawing/2014/main" id="{FEB21CA7-DBFE-41C0-A1CA-12ED36D328E4}"/>
              </a:ext>
            </a:extLst>
          </p:cNvPr>
          <p:cNvSpPr txBox="1">
            <a:spLocks/>
          </p:cNvSpPr>
          <p:nvPr/>
        </p:nvSpPr>
        <p:spPr>
          <a:xfrm>
            <a:off x="693577" y="4925865"/>
            <a:ext cx="2491084" cy="994110"/>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R="0" lvl="0" defTabSz="914400" rtl="0" eaLnBrk="1" fontAlgn="auto" latinLnBrk="0" hangingPunct="1">
              <a:lnSpc>
                <a:spcPct val="100000"/>
              </a:lnSpc>
              <a:spcBef>
                <a:spcPct val="0"/>
              </a:spcBef>
              <a:spcAft>
                <a:spcPts val="600"/>
              </a:spcAft>
              <a:buClrTx/>
              <a:buSzTx/>
              <a:tabLst/>
              <a:defRPr/>
            </a:pPr>
            <a:r>
              <a:rPr kumimoji="0" lang="en-ZA" sz="2000" b="1" i="0" u="none" strike="noStrike" kern="1200" cap="none" spc="0" normalizeH="0" baseline="0" noProof="0" dirty="0">
                <a:ln>
                  <a:noFill/>
                </a:ln>
                <a:effectLst/>
                <a:uLnTx/>
                <a:uFillTx/>
                <a:latin typeface="Century Gothic" panose="020B0502020202020204" pitchFamily="34" charset="0"/>
                <a:cs typeface="Arial" panose="020B0604020202020204" pitchFamily="34" charset="0"/>
              </a:rPr>
              <a:t>Intervention Project</a:t>
            </a:r>
          </a:p>
        </p:txBody>
      </p:sp>
      <p:sp>
        <p:nvSpPr>
          <p:cNvPr id="20" name="Rectangle 19">
            <a:extLst>
              <a:ext uri="{FF2B5EF4-FFF2-40B4-BE49-F238E27FC236}">
                <a16:creationId xmlns:a16="http://schemas.microsoft.com/office/drawing/2014/main" id="{0F33FD10-1697-4149-8F37-5E726E222244}"/>
              </a:ext>
            </a:extLst>
          </p:cNvPr>
          <p:cNvSpPr/>
          <p:nvPr/>
        </p:nvSpPr>
        <p:spPr>
          <a:xfrm>
            <a:off x="312235" y="787576"/>
            <a:ext cx="9593766" cy="498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1" name="Rectangle 20">
            <a:extLst>
              <a:ext uri="{FF2B5EF4-FFF2-40B4-BE49-F238E27FC236}">
                <a16:creationId xmlns:a16="http://schemas.microsoft.com/office/drawing/2014/main" id="{22D1BF1F-AC9C-48B5-A7A2-2D81E2589D5C}"/>
              </a:ext>
            </a:extLst>
          </p:cNvPr>
          <p:cNvSpPr/>
          <p:nvPr/>
        </p:nvSpPr>
        <p:spPr>
          <a:xfrm>
            <a:off x="356584" y="4688915"/>
            <a:ext cx="9593766" cy="498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2" name="Rectangle 21">
            <a:extLst>
              <a:ext uri="{FF2B5EF4-FFF2-40B4-BE49-F238E27FC236}">
                <a16:creationId xmlns:a16="http://schemas.microsoft.com/office/drawing/2014/main" id="{FF887674-5B1D-4547-9E0D-1CC8C17DD014}"/>
              </a:ext>
            </a:extLst>
          </p:cNvPr>
          <p:cNvSpPr/>
          <p:nvPr/>
        </p:nvSpPr>
        <p:spPr>
          <a:xfrm>
            <a:off x="327902" y="2915062"/>
            <a:ext cx="9593766" cy="4985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3" name="Rectangle 22">
            <a:extLst>
              <a:ext uri="{FF2B5EF4-FFF2-40B4-BE49-F238E27FC236}">
                <a16:creationId xmlns:a16="http://schemas.microsoft.com/office/drawing/2014/main" id="{D5323F18-4E50-49F4-BB71-9D507C6B37C7}"/>
              </a:ext>
            </a:extLst>
          </p:cNvPr>
          <p:cNvSpPr/>
          <p:nvPr/>
        </p:nvSpPr>
        <p:spPr>
          <a:xfrm rot="16200000" flipV="1">
            <a:off x="1461883" y="4023559"/>
            <a:ext cx="3472938"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3" name="Title 1">
            <a:extLst>
              <a:ext uri="{FF2B5EF4-FFF2-40B4-BE49-F238E27FC236}">
                <a16:creationId xmlns:a16="http://schemas.microsoft.com/office/drawing/2014/main" id="{79B4161A-D350-48E7-9846-8994036687F7}"/>
              </a:ext>
            </a:extLst>
          </p:cNvPr>
          <p:cNvSpPr txBox="1">
            <a:spLocks/>
          </p:cNvSpPr>
          <p:nvPr/>
        </p:nvSpPr>
        <p:spPr>
          <a:xfrm>
            <a:off x="3533434" y="3046648"/>
            <a:ext cx="6076013" cy="2965531"/>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457200" marR="0" lvl="0" indent="-457200"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kumimoji="0" lang="en-ZA" sz="2000" b="1" i="0" u="none" strike="noStrike" kern="1200" cap="none" spc="0" normalizeH="0" baseline="0" noProof="0" dirty="0">
                <a:ln>
                  <a:noFill/>
                </a:ln>
                <a:effectLst/>
                <a:uLnTx/>
                <a:uFillTx/>
                <a:latin typeface="Century Gothic" panose="020B0502020202020204" pitchFamily="34" charset="0"/>
                <a:cs typeface="Arial" panose="020B0604020202020204" pitchFamily="34" charset="0"/>
              </a:rPr>
              <a:t>Measuring current status of a company</a:t>
            </a:r>
          </a:p>
          <a:p>
            <a:pPr marR="0" lvl="0" defTabSz="914400" rtl="0" eaLnBrk="1" fontAlgn="auto" latinLnBrk="0" hangingPunct="1">
              <a:lnSpc>
                <a:spcPct val="100000"/>
              </a:lnSpc>
              <a:spcBef>
                <a:spcPct val="0"/>
              </a:spcBef>
              <a:spcAft>
                <a:spcPts val="600"/>
              </a:spcAft>
              <a:buClrTx/>
              <a:buSzTx/>
              <a:tabLst/>
              <a:defRPr/>
            </a:pPr>
            <a:endParaRPr kumimoji="0" lang="en-ZA" sz="2000" b="1" i="0" u="none" strike="noStrike" kern="1200" cap="none" spc="0" normalizeH="0" baseline="0" noProof="0" dirty="0">
              <a:ln>
                <a:noFill/>
              </a:ln>
              <a:effectLst/>
              <a:uLnTx/>
              <a:uFillTx/>
              <a:latin typeface="Century Gothic" panose="020B0502020202020204" pitchFamily="34" charset="0"/>
              <a:cs typeface="Arial" panose="020B0604020202020204" pitchFamily="34" charset="0"/>
            </a:endParaRPr>
          </a:p>
          <a:p>
            <a:pPr marL="457200" marR="0" lvl="0" indent="-457200" defTabSz="914400" rtl="0" eaLnBrk="1" fontAlgn="auto" latinLnBrk="0" hangingPunct="1">
              <a:lnSpc>
                <a:spcPct val="100000"/>
              </a:lnSpc>
              <a:spcBef>
                <a:spcPct val="0"/>
              </a:spcBef>
              <a:spcAft>
                <a:spcPts val="600"/>
              </a:spcAft>
              <a:buClrTx/>
              <a:buSzTx/>
              <a:buFont typeface="Arial" panose="020B0604020202020204" pitchFamily="34" charset="0"/>
              <a:buChar char="•"/>
              <a:tabLst/>
              <a:defRPr/>
            </a:pPr>
            <a:r>
              <a:rPr lang="en-ZA" sz="2000" b="1" dirty="0">
                <a:latin typeface="Century Gothic" panose="020B0502020202020204" pitchFamily="34" charset="0"/>
                <a:cs typeface="Arial" panose="020B0604020202020204" pitchFamily="34" charset="0"/>
              </a:rPr>
              <a:t>Determining actions that should be taken to implement improvements.</a:t>
            </a:r>
          </a:p>
          <a:p>
            <a:pPr marR="0" lvl="0" defTabSz="914400" rtl="0" eaLnBrk="1" fontAlgn="auto" latinLnBrk="0" hangingPunct="1">
              <a:lnSpc>
                <a:spcPct val="100000"/>
              </a:lnSpc>
              <a:spcBef>
                <a:spcPct val="0"/>
              </a:spcBef>
              <a:spcAft>
                <a:spcPts val="600"/>
              </a:spcAft>
              <a:buClrTx/>
              <a:buSzTx/>
              <a:tabLst/>
              <a:defRPr/>
            </a:pPr>
            <a:endParaRPr lang="en-ZA" sz="2000" b="1" dirty="0">
              <a:latin typeface="Century Gothic" panose="020B0502020202020204" pitchFamily="34" charset="0"/>
              <a:cs typeface="Arial" panose="020B0604020202020204" pitchFamily="34" charset="0"/>
            </a:endParaRPr>
          </a:p>
          <a:p>
            <a:pPr marL="457200" marR="0" lvl="0" indent="-457200"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ZA" sz="2000" b="1" i="0" u="none" strike="noStrike" kern="1200" cap="none" spc="0" normalizeH="0" baseline="0" noProof="0" dirty="0">
                <a:ln>
                  <a:noFill/>
                </a:ln>
                <a:effectLst/>
                <a:uLnTx/>
                <a:uFillTx/>
                <a:latin typeface="Century Gothic" panose="020B0502020202020204" pitchFamily="34" charset="0"/>
                <a:cs typeface="Arial" panose="020B0604020202020204" pitchFamily="34" charset="0"/>
              </a:rPr>
              <a:t>Detailed focus workshops to address strategic areas of improvement.</a:t>
            </a:r>
          </a:p>
        </p:txBody>
      </p:sp>
      <p:sp>
        <p:nvSpPr>
          <p:cNvPr id="24" name="TextBox 23">
            <a:extLst>
              <a:ext uri="{FF2B5EF4-FFF2-40B4-BE49-F238E27FC236}">
                <a16:creationId xmlns:a16="http://schemas.microsoft.com/office/drawing/2014/main" id="{6F4B10DD-E10B-413F-AA2E-23228AC5B876}"/>
              </a:ext>
            </a:extLst>
          </p:cNvPr>
          <p:cNvSpPr txBox="1"/>
          <p:nvPr/>
        </p:nvSpPr>
        <p:spPr>
          <a:xfrm>
            <a:off x="3994264" y="2309951"/>
            <a:ext cx="5132746" cy="400110"/>
          </a:xfrm>
          <a:prstGeom prst="rect">
            <a:avLst/>
          </a:prstGeom>
          <a:noFill/>
        </p:spPr>
        <p:txBody>
          <a:bodyPr wrap="square">
            <a:spAutoFit/>
          </a:bodyPr>
          <a:lstStyle/>
          <a:p>
            <a:r>
              <a:rPr lang="en-ZA" sz="2000" b="1" dirty="0">
                <a:solidFill>
                  <a:srgbClr val="0070C0"/>
                </a:solidFill>
                <a:latin typeface="Century Gothic" panose="020B0502020202020204" pitchFamily="34" charset="0"/>
                <a:cs typeface="Arial" panose="020B0604020202020204" pitchFamily="34" charset="0"/>
              </a:rPr>
              <a:t>Action</a:t>
            </a:r>
            <a:endParaRPr lang="en-ZA" sz="2000" dirty="0">
              <a:solidFill>
                <a:srgbClr val="0070C0"/>
              </a:solidFill>
            </a:endParaRPr>
          </a:p>
        </p:txBody>
      </p:sp>
      <p:sp>
        <p:nvSpPr>
          <p:cNvPr id="25" name="TextBox 24">
            <a:extLst>
              <a:ext uri="{FF2B5EF4-FFF2-40B4-BE49-F238E27FC236}">
                <a16:creationId xmlns:a16="http://schemas.microsoft.com/office/drawing/2014/main" id="{4555DCC0-D87E-4C25-8959-13DA18CFEB5A}"/>
              </a:ext>
            </a:extLst>
          </p:cNvPr>
          <p:cNvSpPr txBox="1"/>
          <p:nvPr/>
        </p:nvSpPr>
        <p:spPr>
          <a:xfrm>
            <a:off x="641699" y="2309951"/>
            <a:ext cx="2338752" cy="400110"/>
          </a:xfrm>
          <a:prstGeom prst="rect">
            <a:avLst/>
          </a:prstGeom>
          <a:noFill/>
        </p:spPr>
        <p:txBody>
          <a:bodyPr wrap="square">
            <a:spAutoFit/>
          </a:bodyPr>
          <a:lstStyle/>
          <a:p>
            <a:r>
              <a:rPr lang="en-GB" sz="2000" b="1" dirty="0">
                <a:solidFill>
                  <a:srgbClr val="0070C0"/>
                </a:solidFill>
                <a:latin typeface="Century Gothic" panose="020B0502020202020204" pitchFamily="34" charset="0"/>
                <a:cs typeface="Arial" panose="020B0604020202020204" pitchFamily="34" charset="0"/>
              </a:rPr>
              <a:t>P</a:t>
            </a:r>
            <a:r>
              <a:rPr lang="en-ZA" sz="2000" b="1" dirty="0">
                <a:solidFill>
                  <a:srgbClr val="0070C0"/>
                </a:solidFill>
                <a:latin typeface="Century Gothic" panose="020B0502020202020204" pitchFamily="34" charset="0"/>
                <a:cs typeface="Arial" panose="020B0604020202020204" pitchFamily="34" charset="0"/>
              </a:rPr>
              <a:t>rogramme</a:t>
            </a:r>
            <a:endParaRPr lang="en-ZA" sz="2000" dirty="0">
              <a:solidFill>
                <a:srgbClr val="0070C0"/>
              </a:solidFill>
            </a:endParaRPr>
          </a:p>
        </p:txBody>
      </p:sp>
      <p:sp>
        <p:nvSpPr>
          <p:cNvPr id="26" name="TextBox 25">
            <a:extLst>
              <a:ext uri="{FF2B5EF4-FFF2-40B4-BE49-F238E27FC236}">
                <a16:creationId xmlns:a16="http://schemas.microsoft.com/office/drawing/2014/main" id="{11E3ACFE-5801-4C96-883D-FC87A5041375}"/>
              </a:ext>
            </a:extLst>
          </p:cNvPr>
          <p:cNvSpPr txBox="1"/>
          <p:nvPr/>
        </p:nvSpPr>
        <p:spPr>
          <a:xfrm>
            <a:off x="200473" y="1057166"/>
            <a:ext cx="9296616" cy="400110"/>
          </a:xfrm>
          <a:prstGeom prst="rect">
            <a:avLst/>
          </a:prstGeom>
          <a:noFill/>
        </p:spPr>
        <p:txBody>
          <a:bodyPr wrap="square">
            <a:spAutoFit/>
          </a:bodyPr>
          <a:lstStyle/>
          <a:p>
            <a:r>
              <a:rPr lang="en-ZA" sz="2000" b="1" dirty="0">
                <a:latin typeface="Century Gothic" panose="020B0502020202020204" pitchFamily="34" charset="0"/>
                <a:cs typeface="Arial" panose="020B0604020202020204" pitchFamily="34" charset="0"/>
              </a:rPr>
              <a:t>Improvement of company performance and profitability</a:t>
            </a:r>
            <a:endParaRPr lang="en-ZA" sz="2000" dirty="0"/>
          </a:p>
        </p:txBody>
      </p:sp>
      <p:pic>
        <p:nvPicPr>
          <p:cNvPr id="16" name="Picture 15">
            <a:extLst>
              <a:ext uri="{FF2B5EF4-FFF2-40B4-BE49-F238E27FC236}">
                <a16:creationId xmlns:a16="http://schemas.microsoft.com/office/drawing/2014/main" id="{2EA769FA-1601-4299-AACA-B235B1BF7B5F}"/>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0938" y="6046790"/>
            <a:ext cx="1856232" cy="417384"/>
          </a:xfrm>
          <a:prstGeom prst="rect">
            <a:avLst/>
          </a:prstGeom>
          <a:noFill/>
          <a:ln>
            <a:noFill/>
          </a:ln>
        </p:spPr>
      </p:pic>
    </p:spTree>
    <p:extLst>
      <p:ext uri="{BB962C8B-B14F-4D97-AF65-F5344CB8AC3E}">
        <p14:creationId xmlns:p14="http://schemas.microsoft.com/office/powerpoint/2010/main" val="11450587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descr="A close up of a logo&#10;&#10;Description automatically generated">
            <a:extLst>
              <a:ext uri="{FF2B5EF4-FFF2-40B4-BE49-F238E27FC236}">
                <a16:creationId xmlns:a16="http://schemas.microsoft.com/office/drawing/2014/main" id="{EE2488FF-EE7A-4071-9090-196295CF9939}"/>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400938" y="5932445"/>
            <a:ext cx="9505058" cy="84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a:extLst>
              <a:ext uri="{FF2B5EF4-FFF2-40B4-BE49-F238E27FC236}">
                <a16:creationId xmlns:a16="http://schemas.microsoft.com/office/drawing/2014/main" id="{DF10204E-D6C5-49A8-B1D6-57BB62C08BFC}"/>
              </a:ext>
            </a:extLst>
          </p:cNvPr>
          <p:cNvSpPr txBox="1">
            <a:spLocks/>
          </p:cNvSpPr>
          <p:nvPr/>
        </p:nvSpPr>
        <p:spPr>
          <a:xfrm>
            <a:off x="312235" y="233032"/>
            <a:ext cx="9081147" cy="98918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en-ZA" sz="3000" b="1" dirty="0">
                <a:solidFill>
                  <a:srgbClr val="0070C0"/>
                </a:solidFill>
                <a:latin typeface="Century Gothic" panose="020B0502020202020204" pitchFamily="34" charset="0"/>
                <a:cs typeface="Arial" panose="020B0604020202020204" pitchFamily="34" charset="0"/>
              </a:rPr>
              <a:t>PtSA has a Strategic Partnership with the WBA</a:t>
            </a:r>
          </a:p>
        </p:txBody>
      </p:sp>
      <p:sp>
        <p:nvSpPr>
          <p:cNvPr id="6" name="Rectangle 5">
            <a:extLst>
              <a:ext uri="{FF2B5EF4-FFF2-40B4-BE49-F238E27FC236}">
                <a16:creationId xmlns:a16="http://schemas.microsoft.com/office/drawing/2014/main" id="{3F446D51-2C14-4B95-8606-E3A15532C9A6}"/>
              </a:ext>
            </a:extLst>
          </p:cNvPr>
          <p:cNvSpPr/>
          <p:nvPr/>
        </p:nvSpPr>
        <p:spPr>
          <a:xfrm>
            <a:off x="312230" y="963116"/>
            <a:ext cx="9593766" cy="498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 name="TextBox 6">
            <a:extLst>
              <a:ext uri="{FF2B5EF4-FFF2-40B4-BE49-F238E27FC236}">
                <a16:creationId xmlns:a16="http://schemas.microsoft.com/office/drawing/2014/main" id="{8E939A3F-DE28-46F0-BE3C-2583C460E8A5}"/>
              </a:ext>
            </a:extLst>
          </p:cNvPr>
          <p:cNvSpPr txBox="1"/>
          <p:nvPr/>
        </p:nvSpPr>
        <p:spPr>
          <a:xfrm>
            <a:off x="400938" y="2130800"/>
            <a:ext cx="8854239" cy="1254189"/>
          </a:xfrm>
          <a:prstGeom prst="rect">
            <a:avLst/>
          </a:prstGeom>
          <a:noFill/>
        </p:spPr>
        <p:txBody>
          <a:bodyPr wrap="square">
            <a:spAutoFit/>
          </a:bodyPr>
          <a:lstStyle/>
          <a:p>
            <a:pPr marL="342900" indent="-342900">
              <a:spcAft>
                <a:spcPts val="600"/>
              </a:spcAft>
              <a:buFont typeface="Arial" panose="020B0604020202020204" pitchFamily="34" charset="0"/>
              <a:buChar char="•"/>
            </a:pPr>
            <a:r>
              <a:rPr lang="en-GB" sz="2000" dirty="0">
                <a:latin typeface="Century Gothic" panose="020B0502020202020204" pitchFamily="34" charset="0"/>
              </a:rPr>
              <a:t>The WBA Aachener Werkzeugbau Akademie GmbH (WBA Institute Aachen Germany) is the world authority on tooling-related research and consulting. </a:t>
            </a:r>
          </a:p>
          <a:p>
            <a:pPr marL="171450" indent="-171450">
              <a:spcAft>
                <a:spcPts val="600"/>
              </a:spcAft>
              <a:buFont typeface="Arial" panose="020B0604020202020204" pitchFamily="34" charset="0"/>
              <a:buChar char="•"/>
            </a:pPr>
            <a:endParaRPr lang="en-GB" sz="1050" dirty="0">
              <a:latin typeface="Century Gothic" panose="020B0502020202020204" pitchFamily="34" charset="0"/>
            </a:endParaRPr>
          </a:p>
        </p:txBody>
      </p:sp>
      <p:pic>
        <p:nvPicPr>
          <p:cNvPr id="8" name="Picture 7">
            <a:extLst>
              <a:ext uri="{FF2B5EF4-FFF2-40B4-BE49-F238E27FC236}">
                <a16:creationId xmlns:a16="http://schemas.microsoft.com/office/drawing/2014/main" id="{50078F31-8776-4F42-B1C3-AE1A39F6275E}"/>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0938" y="6046790"/>
            <a:ext cx="1856232" cy="417384"/>
          </a:xfrm>
          <a:prstGeom prst="rect">
            <a:avLst/>
          </a:prstGeom>
          <a:noFill/>
          <a:ln>
            <a:noFill/>
          </a:ln>
        </p:spPr>
      </p:pic>
    </p:spTree>
    <p:extLst>
      <p:ext uri="{BB962C8B-B14F-4D97-AF65-F5344CB8AC3E}">
        <p14:creationId xmlns:p14="http://schemas.microsoft.com/office/powerpoint/2010/main" val="472459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4170EB5-FE1E-4C25-871C-64EF212BC948}"/>
              </a:ext>
            </a:extLst>
          </p:cNvPr>
          <p:cNvSpPr/>
          <p:nvPr/>
        </p:nvSpPr>
        <p:spPr>
          <a:xfrm>
            <a:off x="215902" y="554923"/>
            <a:ext cx="9690099" cy="45719"/>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9" name="Title 1">
            <a:extLst>
              <a:ext uri="{FF2B5EF4-FFF2-40B4-BE49-F238E27FC236}">
                <a16:creationId xmlns:a16="http://schemas.microsoft.com/office/drawing/2014/main" id="{18584E63-D4BF-4C63-BEAB-BB26B4CAD7D7}"/>
              </a:ext>
            </a:extLst>
          </p:cNvPr>
          <p:cNvSpPr txBox="1">
            <a:spLocks/>
          </p:cNvSpPr>
          <p:nvPr/>
        </p:nvSpPr>
        <p:spPr bwMode="auto">
          <a:xfrm>
            <a:off x="200472" y="80305"/>
            <a:ext cx="8424239" cy="872896"/>
          </a:xfrm>
          <a:prstGeom prst="rect">
            <a:avLst/>
          </a:prstGeom>
        </p:spPr>
        <p:txBody>
          <a:bodyPr vert="horz" lIns="91440" tIns="45720" rIns="91440" bIns="45720" rtlCol="0" anchor="ctr">
            <a:noAutofit/>
          </a:bodyPr>
          <a:lstStyle>
            <a:defPPr>
              <a:defRPr lang="en-US"/>
            </a:defPPr>
            <a:lvl1pPr>
              <a:lnSpc>
                <a:spcPct val="90000"/>
              </a:lnSpc>
              <a:spcBef>
                <a:spcPct val="0"/>
              </a:spcBef>
              <a:defRPr sz="2400" b="1">
                <a:solidFill>
                  <a:schemeClr val="accent6">
                    <a:lumMod val="50000"/>
                  </a:schemeClr>
                </a:solidFill>
                <a:latin typeface="Arial" panose="020B0604020202020204" pitchFamily="34" charset="0"/>
                <a:ea typeface="+mj-ea"/>
                <a:cs typeface="Arial" panose="020B0604020202020204" pitchFamily="34" charset="0"/>
              </a:defRPr>
            </a:lvl1pPr>
          </a:lstStyle>
          <a:p>
            <a:endParaRPr lang="en-GB" dirty="0">
              <a:solidFill>
                <a:schemeClr val="tx1"/>
              </a:solidFill>
            </a:endParaRPr>
          </a:p>
        </p:txBody>
      </p:sp>
      <p:sp>
        <p:nvSpPr>
          <p:cNvPr id="6" name="Titel 1">
            <a:extLst>
              <a:ext uri="{FF2B5EF4-FFF2-40B4-BE49-F238E27FC236}">
                <a16:creationId xmlns:a16="http://schemas.microsoft.com/office/drawing/2014/main" id="{BA537C62-673C-4DA6-BF52-B4B27448FB27}"/>
              </a:ext>
            </a:extLst>
          </p:cNvPr>
          <p:cNvSpPr txBox="1">
            <a:spLocks/>
          </p:cNvSpPr>
          <p:nvPr/>
        </p:nvSpPr>
        <p:spPr>
          <a:xfrm>
            <a:off x="103202" y="84160"/>
            <a:ext cx="9802798" cy="478648"/>
          </a:xfrm>
          <a:prstGeom prst="rect">
            <a:avLst/>
          </a:prstGeom>
        </p:spPr>
        <p:txBody>
          <a:bodyPr vert="horz" lIns="91418" tIns="45709" rIns="91418" bIns="45709" rtlCol="0" anchor="b">
            <a:noAutofit/>
          </a:bodyPr>
          <a:lstStyle>
            <a:lvl1pPr algn="l" defTabSz="914400" rtl="0" eaLnBrk="1" latinLnBrk="0" hangingPunct="1">
              <a:spcBef>
                <a:spcPct val="0"/>
              </a:spcBef>
              <a:buNone/>
              <a:defRPr sz="2200" b="1" kern="1200">
                <a:solidFill>
                  <a:schemeClr val="tx1"/>
                </a:solidFill>
                <a:latin typeface="Arial" panose="020B0604020202020204" pitchFamily="34" charset="0"/>
                <a:ea typeface="+mj-ea"/>
                <a:cs typeface="Arial" panose="020B0604020202020204" pitchFamily="34" charset="0"/>
              </a:defRPr>
            </a:lvl1pPr>
          </a:lstStyle>
          <a:p>
            <a:r>
              <a:rPr lang="en-US" sz="2800" dirty="0">
                <a:solidFill>
                  <a:prstClr val="black"/>
                </a:solidFill>
                <a:latin typeface="Century Gothic" panose="020B0502020202020204" pitchFamily="34" charset="0"/>
              </a:rPr>
              <a:t>Benchmarking</a:t>
            </a:r>
            <a:endParaRPr lang="en-US" dirty="0">
              <a:solidFill>
                <a:prstClr val="black"/>
              </a:solidFill>
              <a:latin typeface="Century Gothic" panose="020B0502020202020204" pitchFamily="34" charset="0"/>
            </a:endParaRPr>
          </a:p>
        </p:txBody>
      </p:sp>
      <p:sp>
        <p:nvSpPr>
          <p:cNvPr id="10" name="Rectangle 9">
            <a:extLst>
              <a:ext uri="{FF2B5EF4-FFF2-40B4-BE49-F238E27FC236}">
                <a16:creationId xmlns:a16="http://schemas.microsoft.com/office/drawing/2014/main" id="{5DCED906-F81D-42B3-9FCD-4986ED43CBBC}"/>
              </a:ext>
            </a:extLst>
          </p:cNvPr>
          <p:cNvSpPr/>
          <p:nvPr/>
        </p:nvSpPr>
        <p:spPr>
          <a:xfrm>
            <a:off x="216944" y="5199871"/>
            <a:ext cx="9490075" cy="763864"/>
          </a:xfrm>
          <a:prstGeom prst="rect">
            <a:avLst/>
          </a:prstGeom>
          <a:solidFill>
            <a:schemeClr val="bg1">
              <a:lumMod val="85000"/>
            </a:schemeClr>
          </a:solidFill>
          <a:ln/>
        </p:spPr>
        <p:style>
          <a:lnRef idx="0">
            <a:schemeClr val="accent3"/>
          </a:lnRef>
          <a:fillRef idx="3">
            <a:schemeClr val="accent3"/>
          </a:fillRef>
          <a:effectRef idx="3">
            <a:schemeClr val="accent3"/>
          </a:effectRef>
          <a:fontRef idx="minor">
            <a:schemeClr val="lt1"/>
          </a:fontRef>
        </p:style>
        <p:txBody>
          <a:bodyPr rtlCol="0" anchor="ctr"/>
          <a:lstStyle/>
          <a:p>
            <a:pPr>
              <a:defRPr/>
            </a:pPr>
            <a:endParaRPr lang="en-ZA" sz="1400" b="1" kern="0" dirty="0">
              <a:solidFill>
                <a:sysClr val="windowText" lastClr="000000"/>
              </a:solidFill>
            </a:endParaRPr>
          </a:p>
          <a:p>
            <a:pPr>
              <a:defRPr/>
            </a:pPr>
            <a:endParaRPr lang="en-ZA" sz="1400" b="1" kern="0" dirty="0">
              <a:solidFill>
                <a:sysClr val="windowText" lastClr="000000"/>
              </a:solidFill>
            </a:endParaRPr>
          </a:p>
          <a:p>
            <a:pPr>
              <a:defRPr/>
            </a:pPr>
            <a:endParaRPr lang="en-ZA" sz="1600" b="1" kern="0" dirty="0">
              <a:solidFill>
                <a:sysClr val="windowText" lastClr="000000"/>
              </a:solidFill>
            </a:endParaRPr>
          </a:p>
          <a:p>
            <a:pPr algn="ctr"/>
            <a:r>
              <a:rPr lang="en-US" sz="1600" b="1" dirty="0">
                <a:solidFill>
                  <a:sysClr val="windowText" lastClr="000000"/>
                </a:solidFill>
              </a:rPr>
              <a:t>The identification of strengths and potentials of the toolroom is a key result of the benchmarking and basis for a solid strategic improvement process.</a:t>
            </a:r>
          </a:p>
          <a:p>
            <a:pPr marL="285750" indent="-285750">
              <a:buFont typeface="Wingdings" panose="05000000000000000000" pitchFamily="2" charset="2"/>
              <a:buChar char="§"/>
              <a:defRPr/>
            </a:pPr>
            <a:endParaRPr lang="en-ZA" sz="1400" kern="0" dirty="0">
              <a:solidFill>
                <a:sysClr val="windowText" lastClr="000000"/>
              </a:solidFill>
            </a:endParaRPr>
          </a:p>
          <a:p>
            <a:pPr marL="285750" indent="-285750">
              <a:buFont typeface="Wingdings" panose="05000000000000000000" pitchFamily="2" charset="2"/>
              <a:buChar char="§"/>
              <a:defRPr/>
            </a:pPr>
            <a:endParaRPr lang="en-ZA" sz="1400" kern="0" dirty="0">
              <a:solidFill>
                <a:sysClr val="windowText" lastClr="000000"/>
              </a:solidFill>
            </a:endParaRPr>
          </a:p>
          <a:p>
            <a:pPr marL="285750" indent="-285750">
              <a:buFont typeface="Wingdings" panose="05000000000000000000" pitchFamily="2" charset="2"/>
              <a:buChar char="§"/>
              <a:defRPr/>
            </a:pPr>
            <a:endParaRPr lang="en-ZA" sz="1400" kern="0" dirty="0">
              <a:solidFill>
                <a:sysClr val="windowText" lastClr="000000"/>
              </a:solidFill>
            </a:endParaRPr>
          </a:p>
        </p:txBody>
      </p:sp>
      <p:sp>
        <p:nvSpPr>
          <p:cNvPr id="11" name="Rectangle 3">
            <a:extLst>
              <a:ext uri="{FF2B5EF4-FFF2-40B4-BE49-F238E27FC236}">
                <a16:creationId xmlns:a16="http://schemas.microsoft.com/office/drawing/2014/main" id="{E55D39DE-99DA-4476-839C-09DC35E614F1}"/>
              </a:ext>
            </a:extLst>
          </p:cNvPr>
          <p:cNvSpPr txBox="1">
            <a:spLocks noChangeArrowheads="1"/>
          </p:cNvSpPr>
          <p:nvPr/>
        </p:nvSpPr>
        <p:spPr bwMode="auto">
          <a:xfrm>
            <a:off x="5041344" y="1113899"/>
            <a:ext cx="4644000" cy="3896297"/>
          </a:xfrm>
          <a:prstGeom prst="roundRect">
            <a:avLst>
              <a:gd name="adj" fmla="val 133"/>
            </a:avLst>
          </a:prstGeom>
          <a:noFill/>
          <a:ln w="19050">
            <a:solidFill>
              <a:schemeClr val="accent5">
                <a:lumMod val="60000"/>
                <a:lumOff val="40000"/>
              </a:schemeClr>
            </a:solidFill>
            <a:miter lim="800000"/>
            <a:headEnd/>
            <a:tailEnd/>
          </a:ln>
          <a:effectLst/>
        </p:spPr>
        <p:txBody>
          <a:bodyPr lIns="0" tIns="180000" rIns="180000" bIns="0"/>
          <a:lstStyle>
            <a:defPPr>
              <a:defRPr lang="de-DE"/>
            </a:defPPr>
            <a:lvl1pPr marL="357188" indent="-268288">
              <a:spcBef>
                <a:spcPct val="30000"/>
              </a:spcBef>
              <a:spcAft>
                <a:spcPct val="20000"/>
              </a:spcAft>
              <a:buClr>
                <a:schemeClr val="bg1"/>
              </a:buClr>
              <a:buSzPct val="85000"/>
              <a:buFont typeface="Wingdings" pitchFamily="2" charset="2"/>
              <a:buChar char="n"/>
              <a:tabLst>
                <a:tab pos="357188" algn="l"/>
                <a:tab pos="631825" algn="l"/>
                <a:tab pos="981075" algn="l"/>
              </a:tabLst>
              <a:defRPr sz="100">
                <a:latin typeface="Arial" pitchFamily="34" charset="0"/>
              </a:defRPr>
            </a:lvl1pPr>
            <a:lvl2pPr marL="742950" indent="-285750" eaLnBrk="0" hangingPunct="0">
              <a:spcAft>
                <a:spcPct val="20000"/>
              </a:spcAft>
              <a:buClr>
                <a:schemeClr val="tx1"/>
              </a:buClr>
              <a:buFont typeface="Arial" pitchFamily="34" charset="0"/>
              <a:buChar char="–"/>
              <a:tabLst>
                <a:tab pos="357188" algn="l"/>
                <a:tab pos="631825" algn="l"/>
                <a:tab pos="981075" algn="l"/>
              </a:tabLst>
              <a:defRPr sz="1600">
                <a:latin typeface="Arial" pitchFamily="34" charset="0"/>
              </a:defRPr>
            </a:lvl2pPr>
            <a:lvl3pPr marL="1143000" indent="-228600" eaLnBrk="0" hangingPunct="0">
              <a:spcAft>
                <a:spcPct val="20000"/>
              </a:spcAft>
              <a:buClr>
                <a:schemeClr val="tx1"/>
              </a:buClr>
              <a:buFont typeface="Wingdings" pitchFamily="2" charset="2"/>
              <a:buChar char="§"/>
              <a:tabLst>
                <a:tab pos="357188" algn="l"/>
                <a:tab pos="631825" algn="l"/>
                <a:tab pos="981075" algn="l"/>
              </a:tabLst>
              <a:defRPr sz="1600">
                <a:latin typeface="Arial" pitchFamily="34" charset="0"/>
              </a:defRPr>
            </a:lvl3pPr>
            <a:lvl4pPr marL="1600200" indent="-228600" eaLnBrk="0" hangingPunct="0">
              <a:spcAft>
                <a:spcPct val="20000"/>
              </a:spcAft>
              <a:buClr>
                <a:schemeClr val="tx1"/>
              </a:buClr>
              <a:buFont typeface="Wingdings" pitchFamily="2" charset="2"/>
              <a:buChar char="§"/>
              <a:tabLst>
                <a:tab pos="357188" algn="l"/>
                <a:tab pos="631825" algn="l"/>
                <a:tab pos="981075" algn="l"/>
              </a:tabLst>
              <a:defRPr sz="1600">
                <a:latin typeface="Arial" pitchFamily="34" charset="0"/>
              </a:defRPr>
            </a:lvl4pPr>
            <a:lvl5pPr marL="2057400" indent="-228600" eaLnBrk="0" hangingPunct="0">
              <a:spcAft>
                <a:spcPct val="20000"/>
              </a:spcAft>
              <a:buClr>
                <a:schemeClr val="tx1"/>
              </a:buClr>
              <a:buFont typeface="Wingdings" pitchFamily="2" charset="2"/>
              <a:buChar char="§"/>
              <a:tabLst>
                <a:tab pos="357188" algn="l"/>
                <a:tab pos="631825" algn="l"/>
                <a:tab pos="981075" algn="l"/>
              </a:tabLst>
              <a:defRPr sz="1600">
                <a:latin typeface="Arial" pitchFamily="34" charset="0"/>
              </a:defRPr>
            </a:lvl5pPr>
            <a:lvl6pPr marL="2514600" indent="-228600" eaLnBrk="0" fontAlgn="base" hangingPunct="0">
              <a:spcBef>
                <a:spcPct val="0"/>
              </a:spcBef>
              <a:spcAft>
                <a:spcPct val="20000"/>
              </a:spcAft>
              <a:buClr>
                <a:schemeClr val="tx1"/>
              </a:buClr>
              <a:buFont typeface="Wingdings" pitchFamily="2" charset="2"/>
              <a:buChar char="§"/>
              <a:tabLst>
                <a:tab pos="357188" algn="l"/>
                <a:tab pos="631825" algn="l"/>
                <a:tab pos="981075" algn="l"/>
              </a:tabLst>
              <a:defRPr sz="1600">
                <a:latin typeface="Arial" pitchFamily="34" charset="0"/>
              </a:defRPr>
            </a:lvl6pPr>
            <a:lvl7pPr marL="2971800" indent="-228600" eaLnBrk="0" fontAlgn="base" hangingPunct="0">
              <a:spcBef>
                <a:spcPct val="0"/>
              </a:spcBef>
              <a:spcAft>
                <a:spcPct val="20000"/>
              </a:spcAft>
              <a:buClr>
                <a:schemeClr val="tx1"/>
              </a:buClr>
              <a:buFont typeface="Wingdings" pitchFamily="2" charset="2"/>
              <a:buChar char="§"/>
              <a:tabLst>
                <a:tab pos="357188" algn="l"/>
                <a:tab pos="631825" algn="l"/>
                <a:tab pos="981075" algn="l"/>
              </a:tabLst>
              <a:defRPr sz="1600">
                <a:latin typeface="Arial" pitchFamily="34" charset="0"/>
              </a:defRPr>
            </a:lvl7pPr>
            <a:lvl8pPr marL="3429000" indent="-228600" eaLnBrk="0" fontAlgn="base" hangingPunct="0">
              <a:spcBef>
                <a:spcPct val="0"/>
              </a:spcBef>
              <a:spcAft>
                <a:spcPct val="20000"/>
              </a:spcAft>
              <a:buClr>
                <a:schemeClr val="tx1"/>
              </a:buClr>
              <a:buFont typeface="Wingdings" pitchFamily="2" charset="2"/>
              <a:buChar char="§"/>
              <a:tabLst>
                <a:tab pos="357188" algn="l"/>
                <a:tab pos="631825" algn="l"/>
                <a:tab pos="981075" algn="l"/>
              </a:tabLst>
              <a:defRPr sz="1600">
                <a:latin typeface="Arial" pitchFamily="34" charset="0"/>
              </a:defRPr>
            </a:lvl8pPr>
            <a:lvl9pPr marL="3886200" indent="-228600" eaLnBrk="0" fontAlgn="base" hangingPunct="0">
              <a:spcBef>
                <a:spcPct val="0"/>
              </a:spcBef>
              <a:spcAft>
                <a:spcPct val="20000"/>
              </a:spcAft>
              <a:buClr>
                <a:schemeClr val="tx1"/>
              </a:buClr>
              <a:buFont typeface="Wingdings" pitchFamily="2" charset="2"/>
              <a:buChar char="§"/>
              <a:tabLst>
                <a:tab pos="357188" algn="l"/>
                <a:tab pos="631825" algn="l"/>
                <a:tab pos="981075" algn="l"/>
              </a:tabLst>
              <a:defRPr sz="1600">
                <a:latin typeface="Arial" pitchFamily="34" charset="0"/>
              </a:defRPr>
            </a:lvl9pPr>
          </a:lstStyle>
          <a:p>
            <a:pPr>
              <a:buClr>
                <a:srgbClr val="FFFFFF"/>
              </a:buClr>
              <a:defRPr/>
            </a:pPr>
            <a:endParaRPr lang="en-US" altLang="de-DE" kern="0" dirty="0">
              <a:solidFill>
                <a:srgbClr val="000000"/>
              </a:solidFill>
            </a:endParaRPr>
          </a:p>
        </p:txBody>
      </p:sp>
      <p:sp>
        <p:nvSpPr>
          <p:cNvPr id="12" name="Textfeld 117">
            <a:extLst>
              <a:ext uri="{FF2B5EF4-FFF2-40B4-BE49-F238E27FC236}">
                <a16:creationId xmlns:a16="http://schemas.microsoft.com/office/drawing/2014/main" id="{04A8FED2-4D12-4083-9983-832352DF30AD}"/>
              </a:ext>
            </a:extLst>
          </p:cNvPr>
          <p:cNvSpPr txBox="1"/>
          <p:nvPr/>
        </p:nvSpPr>
        <p:spPr>
          <a:xfrm>
            <a:off x="5107223" y="1123400"/>
            <a:ext cx="4512237" cy="369332"/>
          </a:xfrm>
          <a:prstGeom prst="rect">
            <a:avLst/>
          </a:prstGeom>
          <a:noFill/>
          <a:ln>
            <a:noFill/>
          </a:ln>
        </p:spPr>
        <p:txBody>
          <a:bodyPr wrap="square" rtlCol="0">
            <a:spAutoFit/>
          </a:bodyPr>
          <a:lstStyle/>
          <a:p>
            <a:pPr>
              <a:defRPr/>
            </a:pPr>
            <a:r>
              <a:rPr lang="en-US" b="1" i="1" kern="0" dirty="0">
                <a:solidFill>
                  <a:srgbClr val="0070C0"/>
                </a:solidFill>
              </a:rPr>
              <a:t>Lessons learned from benchmarking results</a:t>
            </a:r>
          </a:p>
        </p:txBody>
      </p:sp>
      <p:sp>
        <p:nvSpPr>
          <p:cNvPr id="13" name="Textfeld 139">
            <a:extLst>
              <a:ext uri="{FF2B5EF4-FFF2-40B4-BE49-F238E27FC236}">
                <a16:creationId xmlns:a16="http://schemas.microsoft.com/office/drawing/2014/main" id="{A700E0CB-7DD3-488F-BBAB-DE5BD1D11758}"/>
              </a:ext>
            </a:extLst>
          </p:cNvPr>
          <p:cNvSpPr txBox="1"/>
          <p:nvPr/>
        </p:nvSpPr>
        <p:spPr>
          <a:xfrm>
            <a:off x="5289099" y="1649613"/>
            <a:ext cx="4298666" cy="2446824"/>
          </a:xfrm>
          <a:prstGeom prst="rect">
            <a:avLst/>
          </a:prstGeom>
          <a:noFill/>
        </p:spPr>
        <p:txBody>
          <a:bodyPr wrap="square" rtlCol="0">
            <a:spAutoFit/>
          </a:bodyPr>
          <a:lstStyle/>
          <a:p>
            <a:pPr marL="285750" indent="-285750">
              <a:spcBef>
                <a:spcPts val="600"/>
              </a:spcBef>
              <a:buClr>
                <a:srgbClr val="9BBB59">
                  <a:lumMod val="50000"/>
                </a:srgbClr>
              </a:buClr>
              <a:buSzPct val="90000"/>
              <a:buFont typeface="Wingdings" panose="05000000000000000000" pitchFamily="2" charset="2"/>
              <a:buChar char="§"/>
              <a:defRPr/>
            </a:pPr>
            <a:r>
              <a:rPr lang="en-US" sz="1600" kern="0" dirty="0">
                <a:solidFill>
                  <a:prstClr val="black"/>
                </a:solidFill>
              </a:rPr>
              <a:t>Identification of </a:t>
            </a:r>
            <a:r>
              <a:rPr lang="en-US" sz="1600" b="1" kern="0" dirty="0">
                <a:solidFill>
                  <a:prstClr val="black"/>
                </a:solidFill>
              </a:rPr>
              <a:t>own position </a:t>
            </a:r>
            <a:r>
              <a:rPr lang="en-US" sz="1600" kern="0" dirty="0">
                <a:solidFill>
                  <a:prstClr val="black"/>
                </a:solidFill>
              </a:rPr>
              <a:t>in reference to </a:t>
            </a:r>
            <a:r>
              <a:rPr lang="en-US" sz="1600" b="1" kern="0" dirty="0">
                <a:solidFill>
                  <a:prstClr val="black"/>
                </a:solidFill>
              </a:rPr>
              <a:t>competitors</a:t>
            </a:r>
          </a:p>
          <a:p>
            <a:pPr marL="285750" indent="-285750">
              <a:spcBef>
                <a:spcPts val="600"/>
              </a:spcBef>
              <a:buClr>
                <a:srgbClr val="9BBB59">
                  <a:lumMod val="50000"/>
                </a:srgbClr>
              </a:buClr>
              <a:buSzPct val="90000"/>
              <a:buFont typeface="Wingdings" panose="05000000000000000000" pitchFamily="2" charset="2"/>
              <a:buChar char="§"/>
              <a:defRPr/>
            </a:pPr>
            <a:r>
              <a:rPr lang="en-US" sz="1600" kern="0" dirty="0">
                <a:solidFill>
                  <a:prstClr val="black"/>
                </a:solidFill>
              </a:rPr>
              <a:t>Analysis of </a:t>
            </a:r>
            <a:r>
              <a:rPr lang="en-US" sz="1600" b="1" kern="0" dirty="0">
                <a:solidFill>
                  <a:prstClr val="black"/>
                </a:solidFill>
              </a:rPr>
              <a:t>market potential</a:t>
            </a:r>
          </a:p>
          <a:p>
            <a:pPr marL="285750" indent="-285750">
              <a:spcBef>
                <a:spcPts val="600"/>
              </a:spcBef>
              <a:buClr>
                <a:srgbClr val="9BBB59">
                  <a:lumMod val="50000"/>
                </a:srgbClr>
              </a:buClr>
              <a:buSzPct val="90000"/>
              <a:buFont typeface="Wingdings" panose="05000000000000000000" pitchFamily="2" charset="2"/>
              <a:buChar char="§"/>
              <a:defRPr/>
            </a:pPr>
            <a:r>
              <a:rPr lang="en-US" sz="1600" kern="0" dirty="0">
                <a:solidFill>
                  <a:prstClr val="black"/>
                </a:solidFill>
              </a:rPr>
              <a:t>Identification of </a:t>
            </a:r>
            <a:r>
              <a:rPr lang="en-US" sz="1600" b="1" kern="0" dirty="0">
                <a:solidFill>
                  <a:prstClr val="black"/>
                </a:solidFill>
              </a:rPr>
              <a:t>desired position</a:t>
            </a:r>
          </a:p>
          <a:p>
            <a:pPr marL="285750" indent="-285750">
              <a:spcBef>
                <a:spcPts val="600"/>
              </a:spcBef>
              <a:buClr>
                <a:srgbClr val="9BBB59">
                  <a:lumMod val="50000"/>
                </a:srgbClr>
              </a:buClr>
              <a:buSzPct val="90000"/>
              <a:buFont typeface="Wingdings" panose="05000000000000000000" pitchFamily="2" charset="2"/>
              <a:buChar char="§"/>
              <a:defRPr/>
            </a:pPr>
            <a:r>
              <a:rPr lang="en-US" sz="1600" b="1" kern="0" dirty="0">
                <a:solidFill>
                  <a:prstClr val="black"/>
                </a:solidFill>
              </a:rPr>
              <a:t>Derivation of measures </a:t>
            </a:r>
            <a:r>
              <a:rPr lang="en-US" sz="1600" kern="0" dirty="0">
                <a:solidFill>
                  <a:prstClr val="black"/>
                </a:solidFill>
              </a:rPr>
              <a:t>to achieve the target position</a:t>
            </a:r>
          </a:p>
          <a:p>
            <a:pPr marL="285750" indent="-285750">
              <a:spcBef>
                <a:spcPts val="600"/>
              </a:spcBef>
              <a:buClr>
                <a:srgbClr val="9BBB59">
                  <a:lumMod val="50000"/>
                </a:srgbClr>
              </a:buClr>
              <a:buSzPct val="90000"/>
              <a:buFont typeface="Wingdings" panose="05000000000000000000" pitchFamily="2" charset="2"/>
              <a:buChar char="§"/>
              <a:defRPr/>
            </a:pPr>
            <a:r>
              <a:rPr lang="en-US" sz="1600" kern="0" dirty="0">
                <a:solidFill>
                  <a:prstClr val="black"/>
                </a:solidFill>
              </a:rPr>
              <a:t>Access to expertise on </a:t>
            </a:r>
            <a:r>
              <a:rPr lang="en-US" sz="1600" b="1" kern="0" dirty="0">
                <a:solidFill>
                  <a:prstClr val="black"/>
                </a:solidFill>
              </a:rPr>
              <a:t>best practices</a:t>
            </a:r>
          </a:p>
          <a:p>
            <a:pPr marL="285750" indent="-285750">
              <a:spcBef>
                <a:spcPts val="600"/>
              </a:spcBef>
              <a:buClr>
                <a:srgbClr val="9BBB59">
                  <a:lumMod val="50000"/>
                </a:srgbClr>
              </a:buClr>
              <a:buFont typeface="Wingdings" panose="05000000000000000000" pitchFamily="2" charset="2"/>
              <a:buChar char="§"/>
              <a:defRPr/>
            </a:pPr>
            <a:endParaRPr lang="en-US" sz="1600" kern="0" dirty="0">
              <a:solidFill>
                <a:srgbClr val="76923C"/>
              </a:solidFill>
            </a:endParaRPr>
          </a:p>
        </p:txBody>
      </p:sp>
      <p:cxnSp>
        <p:nvCxnSpPr>
          <p:cNvPr id="14" name="Gerade Verbindung 123">
            <a:extLst>
              <a:ext uri="{FF2B5EF4-FFF2-40B4-BE49-F238E27FC236}">
                <a16:creationId xmlns:a16="http://schemas.microsoft.com/office/drawing/2014/main" id="{AF6F399F-C056-4114-8474-DBAA08E2A4E7}"/>
              </a:ext>
            </a:extLst>
          </p:cNvPr>
          <p:cNvCxnSpPr/>
          <p:nvPr/>
        </p:nvCxnSpPr>
        <p:spPr bwMode="auto">
          <a:xfrm>
            <a:off x="381588" y="3390163"/>
            <a:ext cx="0" cy="653598"/>
          </a:xfrm>
          <a:prstGeom prst="line">
            <a:avLst/>
          </a:prstGeom>
          <a:solidFill>
            <a:srgbClr val="DDDDDD"/>
          </a:solidFill>
          <a:ln w="9525" cap="flat" cmpd="sng" algn="ctr">
            <a:solidFill>
              <a:srgbClr val="76923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5" name="Rectangle 3">
            <a:extLst>
              <a:ext uri="{FF2B5EF4-FFF2-40B4-BE49-F238E27FC236}">
                <a16:creationId xmlns:a16="http://schemas.microsoft.com/office/drawing/2014/main" id="{934FDD09-A4FA-4AC6-8D09-B3641506A475}"/>
              </a:ext>
            </a:extLst>
          </p:cNvPr>
          <p:cNvSpPr txBox="1">
            <a:spLocks noChangeArrowheads="1"/>
          </p:cNvSpPr>
          <p:nvPr/>
        </p:nvSpPr>
        <p:spPr bwMode="auto">
          <a:xfrm>
            <a:off x="215903" y="1113904"/>
            <a:ext cx="4644000" cy="3896297"/>
          </a:xfrm>
          <a:prstGeom prst="roundRect">
            <a:avLst>
              <a:gd name="adj" fmla="val 0"/>
            </a:avLst>
          </a:prstGeom>
          <a:noFill/>
          <a:ln w="19050">
            <a:solidFill>
              <a:schemeClr val="accent5">
                <a:lumMod val="60000"/>
                <a:lumOff val="40000"/>
              </a:schemeClr>
            </a:solidFill>
            <a:miter lim="800000"/>
            <a:headEnd/>
            <a:tailEnd/>
          </a:ln>
          <a:effectLst/>
        </p:spPr>
        <p:txBody>
          <a:bodyPr lIns="0" tIns="180000" rIns="180000" bIns="0"/>
          <a:lstStyle>
            <a:lvl1pPr marL="357188" indent="-268288" eaLnBrk="0" hangingPunct="0">
              <a:spcBef>
                <a:spcPct val="30000"/>
              </a:spcBef>
              <a:spcAft>
                <a:spcPct val="20000"/>
              </a:spcAft>
              <a:buClr>
                <a:srgbClr val="006DB6"/>
              </a:buClr>
              <a:buSzPct val="90000"/>
              <a:buFont typeface="Wingdings" pitchFamily="2" charset="2"/>
              <a:buChar char="n"/>
              <a:tabLst>
                <a:tab pos="357188" algn="l"/>
                <a:tab pos="631825" algn="l"/>
                <a:tab pos="981075" algn="l"/>
              </a:tabLst>
              <a:defRPr>
                <a:solidFill>
                  <a:schemeClr val="tx1"/>
                </a:solidFill>
                <a:latin typeface="Arial" pitchFamily="34" charset="0"/>
              </a:defRPr>
            </a:lvl1pPr>
            <a:lvl2pPr marL="742950" indent="-285750" eaLnBrk="0" hangingPunct="0">
              <a:spcAft>
                <a:spcPct val="20000"/>
              </a:spcAft>
              <a:buClr>
                <a:schemeClr val="tx1"/>
              </a:buClr>
              <a:buFont typeface="Arial" pitchFamily="34" charset="0"/>
              <a:buChar char="–"/>
              <a:tabLst>
                <a:tab pos="357188" algn="l"/>
                <a:tab pos="631825" algn="l"/>
                <a:tab pos="981075" algn="l"/>
              </a:tabLst>
              <a:defRPr sz="1600">
                <a:solidFill>
                  <a:schemeClr val="tx1"/>
                </a:solidFill>
                <a:latin typeface="Arial" pitchFamily="34" charset="0"/>
              </a:defRPr>
            </a:lvl2pPr>
            <a:lvl3pPr marL="1143000" indent="-228600" eaLnBrk="0" hangingPunct="0">
              <a:spcAft>
                <a:spcPct val="20000"/>
              </a:spcAft>
              <a:buClr>
                <a:schemeClr val="tx1"/>
              </a:buClr>
              <a:buFont typeface="Wingdings" pitchFamily="2" charset="2"/>
              <a:buChar char="§"/>
              <a:tabLst>
                <a:tab pos="357188" algn="l"/>
                <a:tab pos="631825" algn="l"/>
                <a:tab pos="981075" algn="l"/>
              </a:tabLst>
              <a:defRPr sz="1600">
                <a:solidFill>
                  <a:schemeClr val="tx1"/>
                </a:solidFill>
                <a:latin typeface="Arial" pitchFamily="34" charset="0"/>
              </a:defRPr>
            </a:lvl3pPr>
            <a:lvl4pPr marL="1600200" indent="-228600" eaLnBrk="0" hangingPunct="0">
              <a:spcAft>
                <a:spcPct val="20000"/>
              </a:spcAft>
              <a:buClr>
                <a:schemeClr val="tx1"/>
              </a:buClr>
              <a:buFont typeface="Wingdings" pitchFamily="2" charset="2"/>
              <a:buChar char="§"/>
              <a:tabLst>
                <a:tab pos="357188" algn="l"/>
                <a:tab pos="631825" algn="l"/>
                <a:tab pos="981075" algn="l"/>
              </a:tabLst>
              <a:defRPr sz="1600">
                <a:solidFill>
                  <a:schemeClr val="tx1"/>
                </a:solidFill>
                <a:latin typeface="Arial" pitchFamily="34" charset="0"/>
              </a:defRPr>
            </a:lvl4pPr>
            <a:lvl5pPr marL="2057400" indent="-228600" eaLnBrk="0" hangingPunct="0">
              <a:spcAft>
                <a:spcPct val="20000"/>
              </a:spcAft>
              <a:buClr>
                <a:schemeClr val="tx1"/>
              </a:buClr>
              <a:buFont typeface="Wingdings" pitchFamily="2" charset="2"/>
              <a:buChar char="§"/>
              <a:tabLst>
                <a:tab pos="357188" algn="l"/>
                <a:tab pos="631825" algn="l"/>
                <a:tab pos="981075" algn="l"/>
              </a:tabLst>
              <a:defRPr sz="1600">
                <a:solidFill>
                  <a:schemeClr val="tx1"/>
                </a:solidFill>
                <a:latin typeface="Arial" pitchFamily="34" charset="0"/>
              </a:defRPr>
            </a:lvl5pPr>
            <a:lvl6pPr marL="2514600" indent="-228600" eaLnBrk="0" fontAlgn="base" hangingPunct="0">
              <a:spcBef>
                <a:spcPct val="0"/>
              </a:spcBef>
              <a:spcAft>
                <a:spcPct val="20000"/>
              </a:spcAft>
              <a:buClr>
                <a:schemeClr val="tx1"/>
              </a:buClr>
              <a:buFont typeface="Wingdings" pitchFamily="2" charset="2"/>
              <a:buChar char="§"/>
              <a:tabLst>
                <a:tab pos="357188" algn="l"/>
                <a:tab pos="631825" algn="l"/>
                <a:tab pos="981075" algn="l"/>
              </a:tabLst>
              <a:defRPr sz="1600">
                <a:solidFill>
                  <a:schemeClr val="tx1"/>
                </a:solidFill>
                <a:latin typeface="Arial" pitchFamily="34" charset="0"/>
              </a:defRPr>
            </a:lvl6pPr>
            <a:lvl7pPr marL="2971800" indent="-228600" eaLnBrk="0" fontAlgn="base" hangingPunct="0">
              <a:spcBef>
                <a:spcPct val="0"/>
              </a:spcBef>
              <a:spcAft>
                <a:spcPct val="20000"/>
              </a:spcAft>
              <a:buClr>
                <a:schemeClr val="tx1"/>
              </a:buClr>
              <a:buFont typeface="Wingdings" pitchFamily="2" charset="2"/>
              <a:buChar char="§"/>
              <a:tabLst>
                <a:tab pos="357188" algn="l"/>
                <a:tab pos="631825" algn="l"/>
                <a:tab pos="981075" algn="l"/>
              </a:tabLst>
              <a:defRPr sz="1600">
                <a:solidFill>
                  <a:schemeClr val="tx1"/>
                </a:solidFill>
                <a:latin typeface="Arial" pitchFamily="34" charset="0"/>
              </a:defRPr>
            </a:lvl7pPr>
            <a:lvl8pPr marL="3429000" indent="-228600" eaLnBrk="0" fontAlgn="base" hangingPunct="0">
              <a:spcBef>
                <a:spcPct val="0"/>
              </a:spcBef>
              <a:spcAft>
                <a:spcPct val="20000"/>
              </a:spcAft>
              <a:buClr>
                <a:schemeClr val="tx1"/>
              </a:buClr>
              <a:buFont typeface="Wingdings" pitchFamily="2" charset="2"/>
              <a:buChar char="§"/>
              <a:tabLst>
                <a:tab pos="357188" algn="l"/>
                <a:tab pos="631825" algn="l"/>
                <a:tab pos="981075" algn="l"/>
              </a:tabLst>
              <a:defRPr sz="1600">
                <a:solidFill>
                  <a:schemeClr val="tx1"/>
                </a:solidFill>
                <a:latin typeface="Arial" pitchFamily="34" charset="0"/>
              </a:defRPr>
            </a:lvl8pPr>
            <a:lvl9pPr marL="3886200" indent="-228600" eaLnBrk="0" fontAlgn="base" hangingPunct="0">
              <a:spcBef>
                <a:spcPct val="0"/>
              </a:spcBef>
              <a:spcAft>
                <a:spcPct val="20000"/>
              </a:spcAft>
              <a:buClr>
                <a:schemeClr val="tx1"/>
              </a:buClr>
              <a:buFont typeface="Wingdings" pitchFamily="2" charset="2"/>
              <a:buChar char="§"/>
              <a:tabLst>
                <a:tab pos="357188" algn="l"/>
                <a:tab pos="631825" algn="l"/>
                <a:tab pos="981075" algn="l"/>
              </a:tabLst>
              <a:defRPr sz="1600">
                <a:solidFill>
                  <a:schemeClr val="tx1"/>
                </a:solidFill>
                <a:latin typeface="Arial" pitchFamily="34" charset="0"/>
              </a:defRPr>
            </a:lvl9pPr>
          </a:lstStyle>
          <a:p>
            <a:pPr eaLnBrk="1" hangingPunct="1">
              <a:buClr>
                <a:srgbClr val="FFFFFF"/>
              </a:buClr>
              <a:buSzPct val="85000"/>
              <a:defRPr/>
            </a:pPr>
            <a:endParaRPr lang="en-US" altLang="de-DE" sz="100" kern="0" dirty="0">
              <a:solidFill>
                <a:srgbClr val="000000"/>
              </a:solidFill>
            </a:endParaRPr>
          </a:p>
        </p:txBody>
      </p:sp>
      <p:grpSp>
        <p:nvGrpSpPr>
          <p:cNvPr id="16" name="Gruppieren 8">
            <a:extLst>
              <a:ext uri="{FF2B5EF4-FFF2-40B4-BE49-F238E27FC236}">
                <a16:creationId xmlns:a16="http://schemas.microsoft.com/office/drawing/2014/main" id="{628294AE-74B4-4FA6-B83D-791B7A667137}"/>
              </a:ext>
            </a:extLst>
          </p:cNvPr>
          <p:cNvGrpSpPr/>
          <p:nvPr/>
        </p:nvGrpSpPr>
        <p:grpSpPr>
          <a:xfrm>
            <a:off x="378054" y="3295999"/>
            <a:ext cx="4200556" cy="171380"/>
            <a:chOff x="335570" y="2365498"/>
            <a:chExt cx="3738161" cy="300106"/>
          </a:xfrm>
        </p:grpSpPr>
        <p:sp>
          <p:nvSpPr>
            <p:cNvPr id="17" name="Line 4">
              <a:extLst>
                <a:ext uri="{FF2B5EF4-FFF2-40B4-BE49-F238E27FC236}">
                  <a16:creationId xmlns:a16="http://schemas.microsoft.com/office/drawing/2014/main" id="{D2AEFBA6-D19A-4E56-A375-1D7B95938BEE}"/>
                </a:ext>
              </a:extLst>
            </p:cNvPr>
            <p:cNvSpPr>
              <a:spLocks noChangeAspect="1" noChangeShapeType="1"/>
            </p:cNvSpPr>
            <p:nvPr>
              <p:custDataLst>
                <p:tags r:id="rId3"/>
              </p:custDataLst>
            </p:nvPr>
          </p:nvSpPr>
          <p:spPr bwMode="gray">
            <a:xfrm>
              <a:off x="335570" y="2515552"/>
              <a:ext cx="3738161" cy="0"/>
            </a:xfrm>
            <a:prstGeom prst="line">
              <a:avLst/>
            </a:prstGeom>
            <a:noFill/>
            <a:ln w="12700">
              <a:solidFill>
                <a:sysClr val="windowText" lastClr="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en-US" kern="0" dirty="0">
                <a:solidFill>
                  <a:srgbClr val="000000"/>
                </a:solidFill>
              </a:endParaRPr>
            </a:p>
          </p:txBody>
        </p:sp>
        <p:sp>
          <p:nvSpPr>
            <p:cNvPr id="18" name="Line 12">
              <a:extLst>
                <a:ext uri="{FF2B5EF4-FFF2-40B4-BE49-F238E27FC236}">
                  <a16:creationId xmlns:a16="http://schemas.microsoft.com/office/drawing/2014/main" id="{505E224B-DAFD-472A-A0C3-09F114162174}"/>
                </a:ext>
              </a:extLst>
            </p:cNvPr>
            <p:cNvSpPr>
              <a:spLocks noChangeAspect="1" noChangeShapeType="1"/>
            </p:cNvSpPr>
            <p:nvPr>
              <p:custDataLst>
                <p:tags r:id="rId4"/>
              </p:custDataLst>
            </p:nvPr>
          </p:nvSpPr>
          <p:spPr bwMode="gray">
            <a:xfrm>
              <a:off x="4073731" y="2365498"/>
              <a:ext cx="0" cy="300106"/>
            </a:xfrm>
            <a:prstGeom prst="line">
              <a:avLst/>
            </a:prstGeom>
            <a:noFill/>
            <a:ln w="12700">
              <a:solidFill>
                <a:sysClr val="windowText" lastClr="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en-US" kern="0" dirty="0">
                <a:solidFill>
                  <a:srgbClr val="000000"/>
                </a:solidFill>
              </a:endParaRPr>
            </a:p>
          </p:txBody>
        </p:sp>
        <p:sp>
          <p:nvSpPr>
            <p:cNvPr id="20" name="Line 13">
              <a:extLst>
                <a:ext uri="{FF2B5EF4-FFF2-40B4-BE49-F238E27FC236}">
                  <a16:creationId xmlns:a16="http://schemas.microsoft.com/office/drawing/2014/main" id="{394B8ED2-511C-4926-A77B-C0EDCA0FC1C2}"/>
                </a:ext>
              </a:extLst>
            </p:cNvPr>
            <p:cNvSpPr>
              <a:spLocks noChangeAspect="1" noChangeShapeType="1"/>
            </p:cNvSpPr>
            <p:nvPr>
              <p:custDataLst>
                <p:tags r:id="rId5"/>
              </p:custDataLst>
            </p:nvPr>
          </p:nvSpPr>
          <p:spPr bwMode="gray">
            <a:xfrm>
              <a:off x="3658378" y="2365498"/>
              <a:ext cx="0" cy="300106"/>
            </a:xfrm>
            <a:prstGeom prst="line">
              <a:avLst/>
            </a:prstGeom>
            <a:noFill/>
            <a:ln w="12700">
              <a:solidFill>
                <a:sysClr val="windowText" lastClr="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en-US" kern="0" dirty="0">
                <a:solidFill>
                  <a:srgbClr val="000000"/>
                </a:solidFill>
              </a:endParaRPr>
            </a:p>
          </p:txBody>
        </p:sp>
        <p:sp>
          <p:nvSpPr>
            <p:cNvPr id="21" name="Line 12">
              <a:extLst>
                <a:ext uri="{FF2B5EF4-FFF2-40B4-BE49-F238E27FC236}">
                  <a16:creationId xmlns:a16="http://schemas.microsoft.com/office/drawing/2014/main" id="{C753CE3D-CB40-4B3B-8214-853C910D474C}"/>
                </a:ext>
              </a:extLst>
            </p:cNvPr>
            <p:cNvSpPr>
              <a:spLocks noChangeAspect="1" noChangeShapeType="1"/>
            </p:cNvSpPr>
            <p:nvPr>
              <p:custDataLst>
                <p:tags r:id="rId6"/>
              </p:custDataLst>
            </p:nvPr>
          </p:nvSpPr>
          <p:spPr bwMode="gray">
            <a:xfrm>
              <a:off x="750921" y="2365498"/>
              <a:ext cx="0" cy="300106"/>
            </a:xfrm>
            <a:prstGeom prst="line">
              <a:avLst/>
            </a:prstGeom>
            <a:noFill/>
            <a:ln w="12700">
              <a:solidFill>
                <a:sysClr val="windowText" lastClr="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en-US" kern="0" dirty="0">
                <a:solidFill>
                  <a:srgbClr val="000000"/>
                </a:solidFill>
              </a:endParaRPr>
            </a:p>
          </p:txBody>
        </p:sp>
        <p:sp>
          <p:nvSpPr>
            <p:cNvPr id="22" name="Line 12">
              <a:extLst>
                <a:ext uri="{FF2B5EF4-FFF2-40B4-BE49-F238E27FC236}">
                  <a16:creationId xmlns:a16="http://schemas.microsoft.com/office/drawing/2014/main" id="{824E2225-4207-4F18-90C0-51A32723A3C5}"/>
                </a:ext>
              </a:extLst>
            </p:cNvPr>
            <p:cNvSpPr>
              <a:spLocks noChangeAspect="1" noChangeShapeType="1"/>
            </p:cNvSpPr>
            <p:nvPr>
              <p:custDataLst>
                <p:tags r:id="rId7"/>
              </p:custDataLst>
            </p:nvPr>
          </p:nvSpPr>
          <p:spPr bwMode="gray">
            <a:xfrm>
              <a:off x="1166272" y="2365498"/>
              <a:ext cx="0" cy="300106"/>
            </a:xfrm>
            <a:prstGeom prst="line">
              <a:avLst/>
            </a:prstGeom>
            <a:noFill/>
            <a:ln w="12700">
              <a:solidFill>
                <a:sysClr val="windowText" lastClr="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en-US" kern="0" dirty="0">
                <a:solidFill>
                  <a:srgbClr val="000000"/>
                </a:solidFill>
              </a:endParaRPr>
            </a:p>
          </p:txBody>
        </p:sp>
        <p:sp>
          <p:nvSpPr>
            <p:cNvPr id="23" name="Line 12">
              <a:extLst>
                <a:ext uri="{FF2B5EF4-FFF2-40B4-BE49-F238E27FC236}">
                  <a16:creationId xmlns:a16="http://schemas.microsoft.com/office/drawing/2014/main" id="{124FD855-2151-4C53-B1F7-8953E4D8E68A}"/>
                </a:ext>
              </a:extLst>
            </p:cNvPr>
            <p:cNvSpPr>
              <a:spLocks noChangeAspect="1" noChangeShapeType="1"/>
            </p:cNvSpPr>
            <p:nvPr>
              <p:custDataLst>
                <p:tags r:id="rId8"/>
              </p:custDataLst>
            </p:nvPr>
          </p:nvSpPr>
          <p:spPr bwMode="gray">
            <a:xfrm>
              <a:off x="1581623" y="2365498"/>
              <a:ext cx="0" cy="300106"/>
            </a:xfrm>
            <a:prstGeom prst="line">
              <a:avLst/>
            </a:prstGeom>
            <a:noFill/>
            <a:ln w="12700">
              <a:solidFill>
                <a:sysClr val="windowText" lastClr="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en-US" kern="0" dirty="0">
                <a:solidFill>
                  <a:srgbClr val="000000"/>
                </a:solidFill>
              </a:endParaRPr>
            </a:p>
          </p:txBody>
        </p:sp>
        <p:sp>
          <p:nvSpPr>
            <p:cNvPr id="24" name="Line 12">
              <a:extLst>
                <a:ext uri="{FF2B5EF4-FFF2-40B4-BE49-F238E27FC236}">
                  <a16:creationId xmlns:a16="http://schemas.microsoft.com/office/drawing/2014/main" id="{0356BC72-C8E3-446D-ACEC-DB051F290401}"/>
                </a:ext>
              </a:extLst>
            </p:cNvPr>
            <p:cNvSpPr>
              <a:spLocks noChangeAspect="1" noChangeShapeType="1"/>
            </p:cNvSpPr>
            <p:nvPr>
              <p:custDataLst>
                <p:tags r:id="rId9"/>
              </p:custDataLst>
            </p:nvPr>
          </p:nvSpPr>
          <p:spPr bwMode="gray">
            <a:xfrm>
              <a:off x="1996974" y="2365498"/>
              <a:ext cx="0" cy="300106"/>
            </a:xfrm>
            <a:prstGeom prst="line">
              <a:avLst/>
            </a:prstGeom>
            <a:noFill/>
            <a:ln w="12700">
              <a:solidFill>
                <a:sysClr val="windowText" lastClr="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en-US" kern="0" dirty="0">
                <a:solidFill>
                  <a:srgbClr val="000000"/>
                </a:solidFill>
              </a:endParaRPr>
            </a:p>
          </p:txBody>
        </p:sp>
        <p:sp>
          <p:nvSpPr>
            <p:cNvPr id="25" name="Line 12">
              <a:extLst>
                <a:ext uri="{FF2B5EF4-FFF2-40B4-BE49-F238E27FC236}">
                  <a16:creationId xmlns:a16="http://schemas.microsoft.com/office/drawing/2014/main" id="{6C77769F-26D6-4E00-B297-9DA5EE624F70}"/>
                </a:ext>
              </a:extLst>
            </p:cNvPr>
            <p:cNvSpPr>
              <a:spLocks noChangeAspect="1" noChangeShapeType="1"/>
            </p:cNvSpPr>
            <p:nvPr>
              <p:custDataLst>
                <p:tags r:id="rId10"/>
              </p:custDataLst>
            </p:nvPr>
          </p:nvSpPr>
          <p:spPr bwMode="gray">
            <a:xfrm>
              <a:off x="2412325" y="2365498"/>
              <a:ext cx="0" cy="300106"/>
            </a:xfrm>
            <a:prstGeom prst="line">
              <a:avLst/>
            </a:prstGeom>
            <a:noFill/>
            <a:ln w="12700">
              <a:solidFill>
                <a:sysClr val="windowText" lastClr="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en-US" kern="0" dirty="0">
                <a:solidFill>
                  <a:srgbClr val="000000"/>
                </a:solidFill>
              </a:endParaRPr>
            </a:p>
          </p:txBody>
        </p:sp>
        <p:sp>
          <p:nvSpPr>
            <p:cNvPr id="26" name="Line 12">
              <a:extLst>
                <a:ext uri="{FF2B5EF4-FFF2-40B4-BE49-F238E27FC236}">
                  <a16:creationId xmlns:a16="http://schemas.microsoft.com/office/drawing/2014/main" id="{9E104A04-DF94-44D8-92E2-3F7F51862014}"/>
                </a:ext>
              </a:extLst>
            </p:cNvPr>
            <p:cNvSpPr>
              <a:spLocks noChangeAspect="1" noChangeShapeType="1"/>
            </p:cNvSpPr>
            <p:nvPr>
              <p:custDataLst>
                <p:tags r:id="rId11"/>
              </p:custDataLst>
            </p:nvPr>
          </p:nvSpPr>
          <p:spPr bwMode="gray">
            <a:xfrm>
              <a:off x="2827676" y="2365498"/>
              <a:ext cx="0" cy="300106"/>
            </a:xfrm>
            <a:prstGeom prst="line">
              <a:avLst/>
            </a:prstGeom>
            <a:noFill/>
            <a:ln w="12700">
              <a:solidFill>
                <a:sysClr val="windowText" lastClr="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en-US" kern="0" dirty="0">
                <a:solidFill>
                  <a:srgbClr val="000000"/>
                </a:solidFill>
              </a:endParaRPr>
            </a:p>
          </p:txBody>
        </p:sp>
        <p:sp>
          <p:nvSpPr>
            <p:cNvPr id="27" name="Line 12">
              <a:extLst>
                <a:ext uri="{FF2B5EF4-FFF2-40B4-BE49-F238E27FC236}">
                  <a16:creationId xmlns:a16="http://schemas.microsoft.com/office/drawing/2014/main" id="{727DD9DA-C457-4A24-BF5A-8B035F15D2D6}"/>
                </a:ext>
              </a:extLst>
            </p:cNvPr>
            <p:cNvSpPr>
              <a:spLocks noChangeAspect="1" noChangeShapeType="1"/>
            </p:cNvSpPr>
            <p:nvPr>
              <p:custDataLst>
                <p:tags r:id="rId12"/>
              </p:custDataLst>
            </p:nvPr>
          </p:nvSpPr>
          <p:spPr bwMode="gray">
            <a:xfrm>
              <a:off x="3243027" y="2365498"/>
              <a:ext cx="0" cy="300106"/>
            </a:xfrm>
            <a:prstGeom prst="line">
              <a:avLst/>
            </a:prstGeom>
            <a:noFill/>
            <a:ln w="12700">
              <a:solidFill>
                <a:sysClr val="windowText" lastClr="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en-US" kern="0" dirty="0">
                <a:solidFill>
                  <a:srgbClr val="000000"/>
                </a:solidFill>
              </a:endParaRPr>
            </a:p>
          </p:txBody>
        </p:sp>
        <p:sp>
          <p:nvSpPr>
            <p:cNvPr id="28" name="Line 13">
              <a:extLst>
                <a:ext uri="{FF2B5EF4-FFF2-40B4-BE49-F238E27FC236}">
                  <a16:creationId xmlns:a16="http://schemas.microsoft.com/office/drawing/2014/main" id="{B8D92A19-7EDB-46E0-8179-39247DBDAC70}"/>
                </a:ext>
              </a:extLst>
            </p:cNvPr>
            <p:cNvSpPr>
              <a:spLocks noChangeAspect="1" noChangeShapeType="1"/>
            </p:cNvSpPr>
            <p:nvPr>
              <p:custDataLst>
                <p:tags r:id="rId13"/>
              </p:custDataLst>
            </p:nvPr>
          </p:nvSpPr>
          <p:spPr bwMode="gray">
            <a:xfrm>
              <a:off x="335570" y="2365498"/>
              <a:ext cx="0" cy="300106"/>
            </a:xfrm>
            <a:prstGeom prst="line">
              <a:avLst/>
            </a:prstGeom>
            <a:noFill/>
            <a:ln w="12700">
              <a:solidFill>
                <a:sysClr val="windowText" lastClr="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a:defRPr/>
              </a:pPr>
              <a:endParaRPr lang="en-US" kern="0" dirty="0">
                <a:solidFill>
                  <a:srgbClr val="000000"/>
                </a:solidFill>
              </a:endParaRPr>
            </a:p>
          </p:txBody>
        </p:sp>
      </p:grpSp>
      <p:grpSp>
        <p:nvGrpSpPr>
          <p:cNvPr id="29" name="Gruppieren 49">
            <a:extLst>
              <a:ext uri="{FF2B5EF4-FFF2-40B4-BE49-F238E27FC236}">
                <a16:creationId xmlns:a16="http://schemas.microsoft.com/office/drawing/2014/main" id="{703FAFBC-A77A-4DCE-A2E5-67439AF9D3B9}"/>
              </a:ext>
            </a:extLst>
          </p:cNvPr>
          <p:cNvGrpSpPr>
            <a:grpSpLocks/>
          </p:cNvGrpSpPr>
          <p:nvPr/>
        </p:nvGrpSpPr>
        <p:grpSpPr bwMode="auto">
          <a:xfrm>
            <a:off x="2369371" y="3291689"/>
            <a:ext cx="180000" cy="180000"/>
            <a:chOff x="3176317" y="4922838"/>
            <a:chExt cx="287338" cy="287337"/>
          </a:xfrm>
          <a:solidFill>
            <a:srgbClr val="FFFF00"/>
          </a:solidFill>
          <a:effectLst>
            <a:glow rad="63500">
              <a:srgbClr val="9BBB59">
                <a:satMod val="175000"/>
                <a:alpha val="40000"/>
              </a:srgbClr>
            </a:glow>
          </a:effectLst>
        </p:grpSpPr>
        <p:sp>
          <p:nvSpPr>
            <p:cNvPr id="30" name="Oval 17">
              <a:extLst>
                <a:ext uri="{FF2B5EF4-FFF2-40B4-BE49-F238E27FC236}">
                  <a16:creationId xmlns:a16="http://schemas.microsoft.com/office/drawing/2014/main" id="{2F1C4294-7335-4295-931F-161B4C518F74}"/>
                </a:ext>
              </a:extLst>
            </p:cNvPr>
            <p:cNvSpPr>
              <a:spLocks noChangeAspect="1" noChangeArrowheads="1"/>
            </p:cNvSpPr>
            <p:nvPr>
              <p:custDataLst>
                <p:tags r:id="rId1"/>
              </p:custDataLst>
            </p:nvPr>
          </p:nvSpPr>
          <p:spPr bwMode="gray">
            <a:xfrm>
              <a:off x="3176317" y="4922838"/>
              <a:ext cx="287338" cy="287337"/>
            </a:xfrm>
            <a:prstGeom prst="ellipse">
              <a:avLst/>
            </a:prstGeom>
            <a:grpFill/>
            <a:ln w="12700">
              <a:noFill/>
              <a:round/>
              <a:headEnd type="none" w="sm" len="sm"/>
              <a:tailEnd type="none" w="sm" len="sm"/>
            </a:ln>
            <a:effectLst/>
          </p:spPr>
          <p:txBody>
            <a:bodyPr wrap="none" anchor="ctr"/>
            <a:lstStyle/>
            <a:p>
              <a:pPr>
                <a:defRPr/>
              </a:pPr>
              <a:endParaRPr lang="en-US" kern="0" dirty="0">
                <a:solidFill>
                  <a:srgbClr val="000000"/>
                </a:solidFill>
              </a:endParaRPr>
            </a:p>
          </p:txBody>
        </p:sp>
        <p:sp>
          <p:nvSpPr>
            <p:cNvPr id="31" name="Line 19">
              <a:extLst>
                <a:ext uri="{FF2B5EF4-FFF2-40B4-BE49-F238E27FC236}">
                  <a16:creationId xmlns:a16="http://schemas.microsoft.com/office/drawing/2014/main" id="{3153F509-D6F5-4C14-B8B5-994EF3F35FAE}"/>
                </a:ext>
              </a:extLst>
            </p:cNvPr>
            <p:cNvSpPr>
              <a:spLocks noChangeAspect="1" noChangeShapeType="1"/>
            </p:cNvSpPr>
            <p:nvPr>
              <p:custDataLst>
                <p:tags r:id="rId2"/>
              </p:custDataLst>
            </p:nvPr>
          </p:nvSpPr>
          <p:spPr bwMode="gray">
            <a:xfrm flipV="1">
              <a:off x="3176317" y="4922838"/>
              <a:ext cx="287338" cy="287337"/>
            </a:xfrm>
            <a:prstGeom prst="line">
              <a:avLst/>
            </a:prstGeom>
            <a:grpFill/>
            <a:ln w="12700">
              <a:noFill/>
              <a:round/>
              <a:headEnd type="none" w="sm" len="sm"/>
              <a:tailEnd type="none" w="sm" len="sm"/>
            </a:ln>
            <a:effectLst/>
          </p:spPr>
          <p:txBody>
            <a:bodyPr wrap="none" anchor="ctr"/>
            <a:lstStyle/>
            <a:p>
              <a:pPr>
                <a:defRPr/>
              </a:pPr>
              <a:endParaRPr lang="en-US" kern="0" dirty="0">
                <a:solidFill>
                  <a:srgbClr val="000000"/>
                </a:solidFill>
              </a:endParaRPr>
            </a:p>
          </p:txBody>
        </p:sp>
      </p:grpSp>
      <p:sp>
        <p:nvSpPr>
          <p:cNvPr id="32" name="Rechteck 69">
            <a:extLst>
              <a:ext uri="{FF2B5EF4-FFF2-40B4-BE49-F238E27FC236}">
                <a16:creationId xmlns:a16="http://schemas.microsoft.com/office/drawing/2014/main" id="{B0B4D559-2699-4C34-B33F-A389A64A7143}"/>
              </a:ext>
            </a:extLst>
          </p:cNvPr>
          <p:cNvSpPr>
            <a:spLocks noChangeArrowheads="1"/>
          </p:cNvSpPr>
          <p:nvPr/>
        </p:nvSpPr>
        <p:spPr bwMode="auto">
          <a:xfrm>
            <a:off x="2138567" y="3603011"/>
            <a:ext cx="830611" cy="563236"/>
          </a:xfrm>
          <a:prstGeom prst="rect">
            <a:avLst/>
          </a:prstGeom>
          <a:solidFill>
            <a:sysClr val="window" lastClr="FFFFFF"/>
          </a:solidFill>
          <a:ln w="10795" algn="ctr">
            <a:solidFill>
              <a:sysClr val="window" lastClr="FFFFFF"/>
            </a:solidFill>
            <a:round/>
            <a:headEnd/>
            <a:tailEnd/>
          </a:ln>
        </p:spPr>
        <p:txBody>
          <a:bodyPr anchor="ctr"/>
          <a:lstStyle/>
          <a:p>
            <a:pPr algn="ctr">
              <a:defRPr/>
            </a:pPr>
            <a:r>
              <a:rPr lang="en-US" sz="1100" b="1" kern="0" dirty="0">
                <a:solidFill>
                  <a:srgbClr val="000000"/>
                </a:solidFill>
              </a:rPr>
              <a:t>Company</a:t>
            </a:r>
          </a:p>
          <a:p>
            <a:pPr algn="ctr">
              <a:defRPr/>
            </a:pPr>
            <a:r>
              <a:rPr lang="en-US" sz="1100" b="1" kern="0" dirty="0">
                <a:solidFill>
                  <a:srgbClr val="000000"/>
                </a:solidFill>
              </a:rPr>
              <a:t>Current</a:t>
            </a:r>
          </a:p>
          <a:p>
            <a:pPr algn="ctr">
              <a:defRPr/>
            </a:pPr>
            <a:r>
              <a:rPr lang="en-US" sz="1100" b="1" kern="0" dirty="0">
                <a:solidFill>
                  <a:srgbClr val="000000"/>
                </a:solidFill>
              </a:rPr>
              <a:t>Position </a:t>
            </a:r>
          </a:p>
        </p:txBody>
      </p:sp>
      <p:grpSp>
        <p:nvGrpSpPr>
          <p:cNvPr id="33" name="Gruppieren 97">
            <a:extLst>
              <a:ext uri="{FF2B5EF4-FFF2-40B4-BE49-F238E27FC236}">
                <a16:creationId xmlns:a16="http://schemas.microsoft.com/office/drawing/2014/main" id="{4C71A868-BB87-4027-A662-CECEB1487C46}"/>
              </a:ext>
            </a:extLst>
          </p:cNvPr>
          <p:cNvGrpSpPr/>
          <p:nvPr/>
        </p:nvGrpSpPr>
        <p:grpSpPr>
          <a:xfrm>
            <a:off x="1242476" y="3291689"/>
            <a:ext cx="180000" cy="180000"/>
            <a:chOff x="1270000" y="5461000"/>
            <a:chExt cx="101600" cy="101600"/>
          </a:xfrm>
          <a:solidFill>
            <a:srgbClr val="00B050"/>
          </a:solidFill>
          <a:effectLst>
            <a:glow rad="63500">
              <a:srgbClr val="9BBB59">
                <a:satMod val="175000"/>
                <a:alpha val="40000"/>
              </a:srgbClr>
            </a:glow>
          </a:effectLst>
        </p:grpSpPr>
        <p:sp>
          <p:nvSpPr>
            <p:cNvPr id="34" name="Ellipse 99">
              <a:extLst>
                <a:ext uri="{FF2B5EF4-FFF2-40B4-BE49-F238E27FC236}">
                  <a16:creationId xmlns:a16="http://schemas.microsoft.com/office/drawing/2014/main" id="{DFF3C46A-2EAA-4F85-AE68-764763632FA4}"/>
                </a:ext>
              </a:extLst>
            </p:cNvPr>
            <p:cNvSpPr/>
            <p:nvPr/>
          </p:nvSpPr>
          <p:spPr bwMode="auto">
            <a:xfrm>
              <a:off x="1270000" y="5461000"/>
              <a:ext cx="101600" cy="101600"/>
            </a:xfrm>
            <a:prstGeom prst="ellipse">
              <a:avLst/>
            </a:prstGeom>
            <a:grp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defRPr/>
              </a:pPr>
              <a:endParaRPr lang="en-US" kern="0" dirty="0">
                <a:solidFill>
                  <a:srgbClr val="000000"/>
                </a:solidFill>
              </a:endParaRPr>
            </a:p>
          </p:txBody>
        </p:sp>
        <p:cxnSp>
          <p:nvCxnSpPr>
            <p:cNvPr id="35" name="Gerade Verbindung 100">
              <a:extLst>
                <a:ext uri="{FF2B5EF4-FFF2-40B4-BE49-F238E27FC236}">
                  <a16:creationId xmlns:a16="http://schemas.microsoft.com/office/drawing/2014/main" id="{2B25B7A7-AFBF-4456-8CCF-DFB70A76B095}"/>
                </a:ext>
              </a:extLst>
            </p:cNvPr>
            <p:cNvCxnSpPr/>
            <p:nvPr/>
          </p:nvCxnSpPr>
          <p:spPr bwMode="auto">
            <a:xfrm flipV="1">
              <a:off x="1270000" y="5461000"/>
              <a:ext cx="101600" cy="101600"/>
            </a:xfrm>
            <a:prstGeom prst="line">
              <a:avLst/>
            </a:prstGeom>
            <a:grp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36" name="Gruppieren 93">
            <a:extLst>
              <a:ext uri="{FF2B5EF4-FFF2-40B4-BE49-F238E27FC236}">
                <a16:creationId xmlns:a16="http://schemas.microsoft.com/office/drawing/2014/main" id="{A36C01AF-9E0C-47B5-9525-FF2F286319EE}"/>
              </a:ext>
            </a:extLst>
          </p:cNvPr>
          <p:cNvGrpSpPr/>
          <p:nvPr/>
        </p:nvGrpSpPr>
        <p:grpSpPr>
          <a:xfrm>
            <a:off x="3555729" y="3291690"/>
            <a:ext cx="180000" cy="180000"/>
            <a:chOff x="2540000" y="5461000"/>
            <a:chExt cx="101600" cy="101600"/>
          </a:xfrm>
          <a:solidFill>
            <a:schemeClr val="accent1">
              <a:lumMod val="75000"/>
            </a:schemeClr>
          </a:solidFill>
          <a:effectLst>
            <a:glow rad="63500">
              <a:srgbClr val="9BBB59">
                <a:satMod val="175000"/>
                <a:alpha val="40000"/>
              </a:srgbClr>
            </a:glow>
          </a:effectLst>
        </p:grpSpPr>
        <p:sp>
          <p:nvSpPr>
            <p:cNvPr id="37" name="Ellipse 95">
              <a:extLst>
                <a:ext uri="{FF2B5EF4-FFF2-40B4-BE49-F238E27FC236}">
                  <a16:creationId xmlns:a16="http://schemas.microsoft.com/office/drawing/2014/main" id="{8D28E58C-D5FD-4E0F-BFFB-2E35EEC9B276}"/>
                </a:ext>
              </a:extLst>
            </p:cNvPr>
            <p:cNvSpPr/>
            <p:nvPr/>
          </p:nvSpPr>
          <p:spPr bwMode="auto">
            <a:xfrm>
              <a:off x="2540000" y="5461000"/>
              <a:ext cx="101600" cy="101600"/>
            </a:xfrm>
            <a:prstGeom prst="ellipse">
              <a:avLst/>
            </a:prstGeom>
            <a:grp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defRPr/>
              </a:pPr>
              <a:endParaRPr lang="en-US" kern="0" dirty="0">
                <a:solidFill>
                  <a:srgbClr val="000000"/>
                </a:solidFill>
              </a:endParaRPr>
            </a:p>
          </p:txBody>
        </p:sp>
        <p:cxnSp>
          <p:nvCxnSpPr>
            <p:cNvPr id="38" name="Gerade Verbindung 96">
              <a:extLst>
                <a:ext uri="{FF2B5EF4-FFF2-40B4-BE49-F238E27FC236}">
                  <a16:creationId xmlns:a16="http://schemas.microsoft.com/office/drawing/2014/main" id="{95F89968-A89E-4493-8856-F29A397FC992}"/>
                </a:ext>
              </a:extLst>
            </p:cNvPr>
            <p:cNvCxnSpPr/>
            <p:nvPr/>
          </p:nvCxnSpPr>
          <p:spPr bwMode="auto">
            <a:xfrm flipV="1">
              <a:off x="2540000" y="5461000"/>
              <a:ext cx="101600" cy="101600"/>
            </a:xfrm>
            <a:prstGeom prst="line">
              <a:avLst/>
            </a:prstGeom>
            <a:grpFill/>
            <a:ln w="12700"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39" name="Ellipse 91">
            <a:extLst>
              <a:ext uri="{FF2B5EF4-FFF2-40B4-BE49-F238E27FC236}">
                <a16:creationId xmlns:a16="http://schemas.microsoft.com/office/drawing/2014/main" id="{9561D482-6AE1-4B34-B46C-BD719C278F8B}"/>
              </a:ext>
            </a:extLst>
          </p:cNvPr>
          <p:cNvSpPr/>
          <p:nvPr/>
        </p:nvSpPr>
        <p:spPr bwMode="auto">
          <a:xfrm>
            <a:off x="2106294" y="3291689"/>
            <a:ext cx="180000" cy="180000"/>
          </a:xfrm>
          <a:prstGeom prst="ellipse">
            <a:avLst/>
          </a:prstGeom>
          <a:solidFill>
            <a:srgbClr val="BFBFBF">
              <a:lumMod val="75000"/>
            </a:srgbClr>
          </a:solidFill>
          <a:ln w="12700" cap="flat" cmpd="sng" algn="ctr">
            <a:noFill/>
            <a:prstDash val="solid"/>
            <a:round/>
            <a:headEnd type="none" w="med" len="med"/>
            <a:tailEnd type="none" w="med" len="med"/>
          </a:ln>
          <a:effectLst>
            <a:glow rad="63500">
              <a:srgbClr val="9BBB59">
                <a:satMod val="175000"/>
                <a:alpha val="40000"/>
              </a:srgbClr>
            </a:glow>
          </a:effectLst>
        </p:spPr>
        <p:txBody>
          <a:bodyPr vert="horz" wrap="square" lIns="91440" tIns="45720" rIns="91440" bIns="45720" numCol="1" rtlCol="0" anchor="ctr" anchorCtr="0" compatLnSpc="1">
            <a:prstTxWarp prst="textNoShape">
              <a:avLst/>
            </a:prstTxWarp>
          </a:bodyPr>
          <a:lstStyle/>
          <a:p>
            <a:pPr algn="ctr">
              <a:defRPr/>
            </a:pPr>
            <a:endParaRPr lang="en-US" kern="0" dirty="0">
              <a:solidFill>
                <a:srgbClr val="000000"/>
              </a:solidFill>
            </a:endParaRPr>
          </a:p>
        </p:txBody>
      </p:sp>
      <p:sp>
        <p:nvSpPr>
          <p:cNvPr id="40" name="Rechteck 53">
            <a:extLst>
              <a:ext uri="{FF2B5EF4-FFF2-40B4-BE49-F238E27FC236}">
                <a16:creationId xmlns:a16="http://schemas.microsoft.com/office/drawing/2014/main" id="{D3C6666E-EFC9-4F16-8067-3E886E90B007}"/>
              </a:ext>
            </a:extLst>
          </p:cNvPr>
          <p:cNvSpPr>
            <a:spLocks noChangeArrowheads="1"/>
          </p:cNvSpPr>
          <p:nvPr/>
        </p:nvSpPr>
        <p:spPr bwMode="auto">
          <a:xfrm>
            <a:off x="3681608" y="3661195"/>
            <a:ext cx="990601" cy="468244"/>
          </a:xfrm>
          <a:prstGeom prst="rect">
            <a:avLst/>
          </a:prstGeom>
          <a:solidFill>
            <a:sysClr val="window" lastClr="FFFFFF"/>
          </a:solidFill>
          <a:ln w="10795" algn="ctr">
            <a:solidFill>
              <a:sysClr val="window" lastClr="FFFFFF"/>
            </a:solidFill>
            <a:round/>
            <a:headEnd/>
            <a:tailEnd/>
          </a:ln>
        </p:spPr>
        <p:txBody>
          <a:bodyPr anchor="ctr"/>
          <a:lstStyle/>
          <a:p>
            <a:pPr>
              <a:defRPr/>
            </a:pPr>
            <a:r>
              <a:rPr lang="en-US" sz="1100" b="1" kern="0" dirty="0">
                <a:solidFill>
                  <a:srgbClr val="000000"/>
                </a:solidFill>
              </a:rPr>
              <a:t>Best or worst in class</a:t>
            </a:r>
          </a:p>
        </p:txBody>
      </p:sp>
      <p:cxnSp>
        <p:nvCxnSpPr>
          <p:cNvPr id="41" name="Gerade Verbindung 11">
            <a:extLst>
              <a:ext uri="{FF2B5EF4-FFF2-40B4-BE49-F238E27FC236}">
                <a16:creationId xmlns:a16="http://schemas.microsoft.com/office/drawing/2014/main" id="{085D337D-4E84-4511-AA3C-9357292B5307}"/>
              </a:ext>
            </a:extLst>
          </p:cNvPr>
          <p:cNvCxnSpPr/>
          <p:nvPr/>
        </p:nvCxnSpPr>
        <p:spPr bwMode="auto">
          <a:xfrm flipH="1">
            <a:off x="4578610" y="3463127"/>
            <a:ext cx="0" cy="591664"/>
          </a:xfrm>
          <a:prstGeom prst="line">
            <a:avLst/>
          </a:prstGeom>
          <a:solidFill>
            <a:srgbClr val="DDDDDD"/>
          </a:solidFill>
          <a:ln w="9525"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2" name="Gerade Verbindung 123">
            <a:extLst>
              <a:ext uri="{FF2B5EF4-FFF2-40B4-BE49-F238E27FC236}">
                <a16:creationId xmlns:a16="http://schemas.microsoft.com/office/drawing/2014/main" id="{B469786D-8BD3-487B-BE29-D0AAC3BE273F}"/>
              </a:ext>
            </a:extLst>
          </p:cNvPr>
          <p:cNvCxnSpPr>
            <a:stCxn id="39" idx="4"/>
          </p:cNvCxnSpPr>
          <p:nvPr/>
        </p:nvCxnSpPr>
        <p:spPr bwMode="auto">
          <a:xfrm>
            <a:off x="2196293" y="3471689"/>
            <a:ext cx="0" cy="653598"/>
          </a:xfrm>
          <a:prstGeom prst="line">
            <a:avLst/>
          </a:prstGeom>
          <a:solidFill>
            <a:srgbClr val="DDDDDD"/>
          </a:solidFill>
          <a:ln w="9525"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43" name="Gerade Verbindung 128">
            <a:extLst>
              <a:ext uri="{FF2B5EF4-FFF2-40B4-BE49-F238E27FC236}">
                <a16:creationId xmlns:a16="http://schemas.microsoft.com/office/drawing/2014/main" id="{E6735F86-F797-43E5-A3DD-3BB320F515BE}"/>
              </a:ext>
            </a:extLst>
          </p:cNvPr>
          <p:cNvCxnSpPr>
            <a:stCxn id="34" idx="4"/>
          </p:cNvCxnSpPr>
          <p:nvPr/>
        </p:nvCxnSpPr>
        <p:spPr bwMode="auto">
          <a:xfrm>
            <a:off x="1332485" y="3471695"/>
            <a:ext cx="17" cy="1405111"/>
          </a:xfrm>
          <a:prstGeom prst="line">
            <a:avLst/>
          </a:prstGeom>
          <a:solidFill>
            <a:srgbClr val="DDDDDD"/>
          </a:solidFill>
          <a:ln w="9525" cap="flat" cmpd="sng" algn="ctr">
            <a:solidFill>
              <a:schemeClr val="accent5">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4" name="Rechteck 69">
            <a:extLst>
              <a:ext uri="{FF2B5EF4-FFF2-40B4-BE49-F238E27FC236}">
                <a16:creationId xmlns:a16="http://schemas.microsoft.com/office/drawing/2014/main" id="{F27AE4F8-5BFC-4486-B75A-6511DFA43CBD}"/>
              </a:ext>
            </a:extLst>
          </p:cNvPr>
          <p:cNvSpPr>
            <a:spLocks noChangeArrowheads="1"/>
          </p:cNvSpPr>
          <p:nvPr/>
        </p:nvSpPr>
        <p:spPr bwMode="auto">
          <a:xfrm>
            <a:off x="1248099" y="4404254"/>
            <a:ext cx="2136467" cy="472546"/>
          </a:xfrm>
          <a:prstGeom prst="rect">
            <a:avLst/>
          </a:prstGeom>
          <a:noFill/>
          <a:ln w="10795" algn="ctr">
            <a:noFill/>
            <a:round/>
            <a:headEnd/>
            <a:tailEnd/>
          </a:ln>
        </p:spPr>
        <p:txBody>
          <a:bodyPr anchor="ctr"/>
          <a:lstStyle/>
          <a:p>
            <a:pPr>
              <a:defRPr/>
            </a:pPr>
            <a:r>
              <a:rPr lang="en-US" sz="1200" b="1" kern="0" dirty="0">
                <a:solidFill>
                  <a:srgbClr val="000000"/>
                </a:solidFill>
              </a:rPr>
              <a:t>Comparison:</a:t>
            </a:r>
            <a:br>
              <a:rPr lang="en-US" sz="1200" kern="0" dirty="0">
                <a:solidFill>
                  <a:srgbClr val="000000"/>
                </a:solidFill>
              </a:rPr>
            </a:br>
            <a:r>
              <a:rPr lang="en-US" sz="1200" kern="0" dirty="0">
                <a:solidFill>
                  <a:srgbClr val="000000"/>
                </a:solidFill>
              </a:rPr>
              <a:t>South African competitors</a:t>
            </a:r>
          </a:p>
        </p:txBody>
      </p:sp>
      <p:cxnSp>
        <p:nvCxnSpPr>
          <p:cNvPr id="45" name="Gerade Verbindung 133">
            <a:extLst>
              <a:ext uri="{FF2B5EF4-FFF2-40B4-BE49-F238E27FC236}">
                <a16:creationId xmlns:a16="http://schemas.microsoft.com/office/drawing/2014/main" id="{5377F97C-4F2E-4EDE-927B-A4EFCF0CB73B}"/>
              </a:ext>
            </a:extLst>
          </p:cNvPr>
          <p:cNvCxnSpPr>
            <a:stCxn id="30" idx="0"/>
          </p:cNvCxnSpPr>
          <p:nvPr/>
        </p:nvCxnSpPr>
        <p:spPr bwMode="auto">
          <a:xfrm flipV="1">
            <a:off x="2459371" y="2454310"/>
            <a:ext cx="0" cy="837431"/>
          </a:xfrm>
          <a:prstGeom prst="line">
            <a:avLst/>
          </a:prstGeom>
          <a:solidFill>
            <a:srgbClr val="DDDDDD"/>
          </a:solidFill>
          <a:ln w="9525"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6" name="Rechteck 69">
            <a:extLst>
              <a:ext uri="{FF2B5EF4-FFF2-40B4-BE49-F238E27FC236}">
                <a16:creationId xmlns:a16="http://schemas.microsoft.com/office/drawing/2014/main" id="{84FF67DC-9994-4042-9CC5-051CCE557BD4}"/>
              </a:ext>
            </a:extLst>
          </p:cNvPr>
          <p:cNvSpPr>
            <a:spLocks noChangeArrowheads="1"/>
          </p:cNvSpPr>
          <p:nvPr/>
        </p:nvSpPr>
        <p:spPr bwMode="auto">
          <a:xfrm>
            <a:off x="377765" y="1843085"/>
            <a:ext cx="2136467" cy="659158"/>
          </a:xfrm>
          <a:prstGeom prst="rect">
            <a:avLst/>
          </a:prstGeom>
          <a:noFill/>
          <a:ln w="10795" algn="ctr">
            <a:noFill/>
            <a:round/>
            <a:headEnd/>
            <a:tailEnd/>
          </a:ln>
        </p:spPr>
        <p:txBody>
          <a:bodyPr anchor="ctr"/>
          <a:lstStyle/>
          <a:p>
            <a:pPr>
              <a:defRPr/>
            </a:pPr>
            <a:r>
              <a:rPr lang="en-US" sz="1200" b="1" kern="0" dirty="0">
                <a:solidFill>
                  <a:srgbClr val="000000"/>
                </a:solidFill>
              </a:rPr>
              <a:t>Average:</a:t>
            </a:r>
            <a:br>
              <a:rPr lang="en-US" sz="1200" kern="0" dirty="0">
                <a:solidFill>
                  <a:srgbClr val="000000"/>
                </a:solidFill>
              </a:rPr>
            </a:br>
            <a:r>
              <a:rPr lang="en-US" sz="1200" kern="0" dirty="0">
                <a:solidFill>
                  <a:srgbClr val="000000"/>
                </a:solidFill>
              </a:rPr>
              <a:t>Database average based on specific configuration</a:t>
            </a:r>
          </a:p>
        </p:txBody>
      </p:sp>
      <p:sp>
        <p:nvSpPr>
          <p:cNvPr id="47" name="Arc 18">
            <a:extLst>
              <a:ext uri="{FF2B5EF4-FFF2-40B4-BE49-F238E27FC236}">
                <a16:creationId xmlns:a16="http://schemas.microsoft.com/office/drawing/2014/main" id="{667B69AB-5823-49E7-8AC6-6803D5CFE46E}"/>
              </a:ext>
            </a:extLst>
          </p:cNvPr>
          <p:cNvSpPr>
            <a:spLocks noChangeAspect="1"/>
          </p:cNvSpPr>
          <p:nvPr/>
        </p:nvSpPr>
        <p:spPr bwMode="gray">
          <a:xfrm rot="19195741">
            <a:off x="2457697" y="2875361"/>
            <a:ext cx="1113528" cy="1169342"/>
          </a:xfrm>
          <a:custGeom>
            <a:avLst/>
            <a:gdLst>
              <a:gd name="T0" fmla="*/ 2147483647 w 20522"/>
              <a:gd name="T1" fmla="*/ 0 h 21371"/>
              <a:gd name="T2" fmla="*/ 2147483647 w 20522"/>
              <a:gd name="T3" fmla="*/ 2147483647 h 21371"/>
              <a:gd name="T4" fmla="*/ 0 w 20522"/>
              <a:gd name="T5" fmla="*/ 2147483647 h 21371"/>
              <a:gd name="T6" fmla="*/ 0 60000 65536"/>
              <a:gd name="T7" fmla="*/ 0 60000 65536"/>
              <a:gd name="T8" fmla="*/ 0 60000 65536"/>
              <a:gd name="T9" fmla="*/ 0 w 20522"/>
              <a:gd name="T10" fmla="*/ 0 h 21371"/>
              <a:gd name="T11" fmla="*/ 20522 w 20522"/>
              <a:gd name="T12" fmla="*/ 21371 h 21371"/>
            </a:gdLst>
            <a:ahLst/>
            <a:cxnLst>
              <a:cxn ang="T6">
                <a:pos x="T0" y="T1"/>
              </a:cxn>
              <a:cxn ang="T7">
                <a:pos x="T2" y="T3"/>
              </a:cxn>
              <a:cxn ang="T8">
                <a:pos x="T4" y="T5"/>
              </a:cxn>
            </a:cxnLst>
            <a:rect l="T9" t="T10" r="T11" b="T12"/>
            <a:pathLst>
              <a:path w="20522" h="21371" fill="none" extrusionOk="0">
                <a:moveTo>
                  <a:pt x="3136" y="-1"/>
                </a:moveTo>
                <a:cubicBezTo>
                  <a:pt x="11235" y="1188"/>
                  <a:pt x="17967" y="6854"/>
                  <a:pt x="20521" y="14632"/>
                </a:cubicBezTo>
              </a:path>
              <a:path w="20522" h="21371" stroke="0" extrusionOk="0">
                <a:moveTo>
                  <a:pt x="3136" y="-1"/>
                </a:moveTo>
                <a:cubicBezTo>
                  <a:pt x="11235" y="1188"/>
                  <a:pt x="17967" y="6854"/>
                  <a:pt x="20521" y="14632"/>
                </a:cubicBezTo>
                <a:lnTo>
                  <a:pt x="0" y="21371"/>
                </a:lnTo>
                <a:lnTo>
                  <a:pt x="3136" y="-1"/>
                </a:lnTo>
                <a:close/>
              </a:path>
            </a:pathLst>
          </a:custGeom>
          <a:noFill/>
          <a:ln w="88900">
            <a:solidFill>
              <a:schemeClr val="accent5">
                <a:lumMod val="60000"/>
                <a:lumOff val="40000"/>
              </a:schemeClr>
            </a:solidFill>
            <a:round/>
            <a:headEnd type="none" w="sm" len="sm"/>
            <a:tailEnd type="triangle" w="med" len="med"/>
          </a:ln>
          <a:extLst>
            <a:ext uri="{909E8E84-426E-40DD-AFC4-6F175D3DCCD1}">
              <a14:hiddenFill xmlns:a14="http://schemas.microsoft.com/office/drawing/2010/main">
                <a:solidFill>
                  <a:srgbClr val="FFFFFF"/>
                </a:solidFill>
              </a14:hiddenFill>
            </a:ext>
          </a:extLst>
        </p:spPr>
        <p:txBody>
          <a:bodyPr wrap="none" anchor="ctr"/>
          <a:lstStyle/>
          <a:p>
            <a:pPr>
              <a:defRPr/>
            </a:pPr>
            <a:endParaRPr lang="en-US" kern="0" dirty="0">
              <a:solidFill>
                <a:schemeClr val="accent5">
                  <a:lumMod val="60000"/>
                  <a:lumOff val="40000"/>
                </a:schemeClr>
              </a:solidFill>
            </a:endParaRPr>
          </a:p>
        </p:txBody>
      </p:sp>
      <p:cxnSp>
        <p:nvCxnSpPr>
          <p:cNvPr id="48" name="Gerade Verbindung 138">
            <a:extLst>
              <a:ext uri="{FF2B5EF4-FFF2-40B4-BE49-F238E27FC236}">
                <a16:creationId xmlns:a16="http://schemas.microsoft.com/office/drawing/2014/main" id="{85E9C944-9FC7-445F-91C9-BE0FA0D4A649}"/>
              </a:ext>
            </a:extLst>
          </p:cNvPr>
          <p:cNvCxnSpPr>
            <a:endCxn id="49" idx="2"/>
          </p:cNvCxnSpPr>
          <p:nvPr/>
        </p:nvCxnSpPr>
        <p:spPr bwMode="auto">
          <a:xfrm flipV="1">
            <a:off x="3643263" y="2634614"/>
            <a:ext cx="0" cy="657076"/>
          </a:xfrm>
          <a:prstGeom prst="line">
            <a:avLst/>
          </a:prstGeom>
          <a:solidFill>
            <a:srgbClr val="DDDDDD"/>
          </a:solidFill>
          <a:ln w="9525"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9" name="Rechteck 69">
            <a:extLst>
              <a:ext uri="{FF2B5EF4-FFF2-40B4-BE49-F238E27FC236}">
                <a16:creationId xmlns:a16="http://schemas.microsoft.com/office/drawing/2014/main" id="{4443FB1B-A076-4F0C-8512-E0EE0CB64FD1}"/>
              </a:ext>
            </a:extLst>
          </p:cNvPr>
          <p:cNvSpPr>
            <a:spLocks noChangeArrowheads="1"/>
          </p:cNvSpPr>
          <p:nvPr/>
        </p:nvSpPr>
        <p:spPr bwMode="auto">
          <a:xfrm>
            <a:off x="2585927" y="1710762"/>
            <a:ext cx="2136467" cy="923899"/>
          </a:xfrm>
          <a:prstGeom prst="rect">
            <a:avLst/>
          </a:prstGeom>
          <a:noFill/>
          <a:ln w="10795" algn="ctr">
            <a:noFill/>
            <a:round/>
            <a:headEnd/>
            <a:tailEnd/>
          </a:ln>
        </p:spPr>
        <p:txBody>
          <a:bodyPr anchor="ctr"/>
          <a:lstStyle/>
          <a:p>
            <a:pPr>
              <a:defRPr/>
            </a:pPr>
            <a:r>
              <a:rPr lang="en-US" sz="1200" b="1" kern="0" dirty="0">
                <a:solidFill>
                  <a:srgbClr val="000000"/>
                </a:solidFill>
              </a:rPr>
              <a:t>Comparison group:</a:t>
            </a:r>
            <a:br>
              <a:rPr lang="en-US" sz="1200" b="1" kern="0" dirty="0">
                <a:solidFill>
                  <a:srgbClr val="000000"/>
                </a:solidFill>
              </a:rPr>
            </a:br>
            <a:r>
              <a:rPr lang="en-US" sz="1200" kern="0" dirty="0">
                <a:solidFill>
                  <a:srgbClr val="000000"/>
                </a:solidFill>
              </a:rPr>
              <a:t>International best practice</a:t>
            </a:r>
          </a:p>
          <a:p>
            <a:pPr>
              <a:defRPr/>
            </a:pPr>
            <a:r>
              <a:rPr lang="en-US" sz="1200" kern="0" dirty="0">
                <a:solidFill>
                  <a:srgbClr val="000000"/>
                </a:solidFill>
              </a:rPr>
              <a:t>(Top 20 tool shops of the excellence in production award 2018)</a:t>
            </a:r>
          </a:p>
        </p:txBody>
      </p:sp>
      <p:cxnSp>
        <p:nvCxnSpPr>
          <p:cNvPr id="50" name="Gerade Verbindung 5">
            <a:extLst>
              <a:ext uri="{FF2B5EF4-FFF2-40B4-BE49-F238E27FC236}">
                <a16:creationId xmlns:a16="http://schemas.microsoft.com/office/drawing/2014/main" id="{451E5461-1B92-464C-BFD4-D440A02DC002}"/>
              </a:ext>
            </a:extLst>
          </p:cNvPr>
          <p:cNvCxnSpPr/>
          <p:nvPr/>
        </p:nvCxnSpPr>
        <p:spPr bwMode="auto">
          <a:xfrm>
            <a:off x="3735729" y="4057477"/>
            <a:ext cx="848249" cy="0"/>
          </a:xfrm>
          <a:prstGeom prst="line">
            <a:avLst/>
          </a:prstGeom>
          <a:solidFill>
            <a:srgbClr val="DDDDDD"/>
          </a:solidFill>
          <a:ln w="9525"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51" name="Gerade Verbindung 101">
            <a:extLst>
              <a:ext uri="{FF2B5EF4-FFF2-40B4-BE49-F238E27FC236}">
                <a16:creationId xmlns:a16="http://schemas.microsoft.com/office/drawing/2014/main" id="{75905F41-66EE-4D33-BF36-8519D0B9704C}"/>
              </a:ext>
            </a:extLst>
          </p:cNvPr>
          <p:cNvCxnSpPr/>
          <p:nvPr/>
        </p:nvCxnSpPr>
        <p:spPr bwMode="auto">
          <a:xfrm>
            <a:off x="1341100" y="4876800"/>
            <a:ext cx="1800000" cy="0"/>
          </a:xfrm>
          <a:prstGeom prst="line">
            <a:avLst/>
          </a:prstGeom>
          <a:solidFill>
            <a:srgbClr val="DDDDDD"/>
          </a:solidFill>
          <a:ln w="9525" cap="flat" cmpd="sng" algn="ctr">
            <a:solidFill>
              <a:schemeClr val="accent5">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52" name="Gerade Verbindung 103">
            <a:extLst>
              <a:ext uri="{FF2B5EF4-FFF2-40B4-BE49-F238E27FC236}">
                <a16:creationId xmlns:a16="http://schemas.microsoft.com/office/drawing/2014/main" id="{9C134A36-B3E7-49FF-9FB2-8F96BD3B79AD}"/>
              </a:ext>
            </a:extLst>
          </p:cNvPr>
          <p:cNvCxnSpPr/>
          <p:nvPr/>
        </p:nvCxnSpPr>
        <p:spPr bwMode="auto">
          <a:xfrm>
            <a:off x="2685817" y="2634614"/>
            <a:ext cx="1826024" cy="0"/>
          </a:xfrm>
          <a:prstGeom prst="line">
            <a:avLst/>
          </a:prstGeom>
          <a:solidFill>
            <a:srgbClr val="DDDDDD"/>
          </a:solidFill>
          <a:ln w="9525"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53" name="Gerade Verbindung 106">
            <a:extLst>
              <a:ext uri="{FF2B5EF4-FFF2-40B4-BE49-F238E27FC236}">
                <a16:creationId xmlns:a16="http://schemas.microsoft.com/office/drawing/2014/main" id="{6CA6FC6B-0A0A-45BD-8F45-13478DCF0DC2}"/>
              </a:ext>
            </a:extLst>
          </p:cNvPr>
          <p:cNvCxnSpPr/>
          <p:nvPr/>
        </p:nvCxnSpPr>
        <p:spPr bwMode="auto">
          <a:xfrm>
            <a:off x="465737" y="2454258"/>
            <a:ext cx="1993638" cy="0"/>
          </a:xfrm>
          <a:prstGeom prst="line">
            <a:avLst/>
          </a:prstGeom>
          <a:solidFill>
            <a:srgbClr val="DDDDDD"/>
          </a:solidFill>
          <a:ln w="9525"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54" name="Gerade Verbindung 119">
            <a:extLst>
              <a:ext uri="{FF2B5EF4-FFF2-40B4-BE49-F238E27FC236}">
                <a16:creationId xmlns:a16="http://schemas.microsoft.com/office/drawing/2014/main" id="{AE876C5D-8874-4C66-BC98-C0E369B391AA}"/>
              </a:ext>
            </a:extLst>
          </p:cNvPr>
          <p:cNvCxnSpPr/>
          <p:nvPr/>
        </p:nvCxnSpPr>
        <p:spPr bwMode="auto">
          <a:xfrm>
            <a:off x="2196292" y="4119947"/>
            <a:ext cx="612000" cy="0"/>
          </a:xfrm>
          <a:prstGeom prst="line">
            <a:avLst/>
          </a:prstGeom>
          <a:solidFill>
            <a:srgbClr val="DDDDDD"/>
          </a:solidFill>
          <a:ln w="9525"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5" name="Textfeld 116">
            <a:extLst>
              <a:ext uri="{FF2B5EF4-FFF2-40B4-BE49-F238E27FC236}">
                <a16:creationId xmlns:a16="http://schemas.microsoft.com/office/drawing/2014/main" id="{53D628E5-D08A-4F9F-B0C6-B57A5939D191}"/>
              </a:ext>
            </a:extLst>
          </p:cNvPr>
          <p:cNvSpPr txBox="1"/>
          <p:nvPr/>
        </p:nvSpPr>
        <p:spPr>
          <a:xfrm>
            <a:off x="372094" y="1123398"/>
            <a:ext cx="4323621" cy="646331"/>
          </a:xfrm>
          <a:prstGeom prst="rect">
            <a:avLst/>
          </a:prstGeom>
          <a:noFill/>
          <a:ln>
            <a:noFill/>
          </a:ln>
        </p:spPr>
        <p:txBody>
          <a:bodyPr wrap="square" rtlCol="0">
            <a:spAutoFit/>
          </a:bodyPr>
          <a:lstStyle/>
          <a:p>
            <a:pPr algn="ctr">
              <a:defRPr/>
            </a:pPr>
            <a:r>
              <a:rPr lang="en-US" b="1" i="1" kern="0" dirty="0">
                <a:solidFill>
                  <a:srgbClr val="0070C0"/>
                </a:solidFill>
              </a:rPr>
              <a:t>Presentations of benchmarking results per key performance area</a:t>
            </a:r>
          </a:p>
        </p:txBody>
      </p:sp>
      <p:sp>
        <p:nvSpPr>
          <p:cNvPr id="56" name="Textfeld 60">
            <a:extLst>
              <a:ext uri="{FF2B5EF4-FFF2-40B4-BE49-F238E27FC236}">
                <a16:creationId xmlns:a16="http://schemas.microsoft.com/office/drawing/2014/main" id="{92738F1A-0046-4CBC-B642-73CCF091DEDD}"/>
              </a:ext>
            </a:extLst>
          </p:cNvPr>
          <p:cNvSpPr txBox="1"/>
          <p:nvPr/>
        </p:nvSpPr>
        <p:spPr>
          <a:xfrm>
            <a:off x="871343" y="2737630"/>
            <a:ext cx="4323621" cy="307777"/>
          </a:xfrm>
          <a:prstGeom prst="rect">
            <a:avLst/>
          </a:prstGeom>
          <a:noFill/>
          <a:ln>
            <a:noFill/>
          </a:ln>
        </p:spPr>
        <p:txBody>
          <a:bodyPr wrap="square" rtlCol="0">
            <a:spAutoFit/>
          </a:bodyPr>
          <a:lstStyle/>
          <a:p>
            <a:pPr algn="ctr">
              <a:defRPr/>
            </a:pPr>
            <a:r>
              <a:rPr lang="en-US" sz="1400" b="1" kern="0" dirty="0">
                <a:solidFill>
                  <a:schemeClr val="accent5">
                    <a:lumMod val="60000"/>
                    <a:lumOff val="40000"/>
                  </a:schemeClr>
                </a:solidFill>
              </a:rPr>
              <a:t>Optimisation</a:t>
            </a:r>
          </a:p>
        </p:txBody>
      </p:sp>
      <p:pic>
        <p:nvPicPr>
          <p:cNvPr id="57" name="Picture 2">
            <a:extLst>
              <a:ext uri="{FF2B5EF4-FFF2-40B4-BE49-F238E27FC236}">
                <a16:creationId xmlns:a16="http://schemas.microsoft.com/office/drawing/2014/main" id="{8AD5F13B-2EC2-4DD7-BA7D-0961DECB949D}"/>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68243" t="26034" r="21054" b="67088"/>
          <a:stretch/>
        </p:blipFill>
        <p:spPr bwMode="auto">
          <a:xfrm>
            <a:off x="3566485" y="2454258"/>
            <a:ext cx="478465" cy="136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8" name="Gerade Verbindung 119">
            <a:extLst>
              <a:ext uri="{FF2B5EF4-FFF2-40B4-BE49-F238E27FC236}">
                <a16:creationId xmlns:a16="http://schemas.microsoft.com/office/drawing/2014/main" id="{35C5D3DC-5ACC-4A32-94BB-8B014A724E4C}"/>
              </a:ext>
            </a:extLst>
          </p:cNvPr>
          <p:cNvCxnSpPr/>
          <p:nvPr/>
        </p:nvCxnSpPr>
        <p:spPr bwMode="auto">
          <a:xfrm>
            <a:off x="381587" y="4038421"/>
            <a:ext cx="612000" cy="0"/>
          </a:xfrm>
          <a:prstGeom prst="line">
            <a:avLst/>
          </a:prstGeom>
          <a:solidFill>
            <a:srgbClr val="DDDDDD"/>
          </a:solidFill>
          <a:ln w="9525" cap="flat" cmpd="sng" algn="ctr">
            <a:solidFill>
              <a:schemeClr val="accent5"/>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9" name="Rechteck 53">
            <a:extLst>
              <a:ext uri="{FF2B5EF4-FFF2-40B4-BE49-F238E27FC236}">
                <a16:creationId xmlns:a16="http://schemas.microsoft.com/office/drawing/2014/main" id="{142DF7BF-21C4-4363-BE62-46F696ED151F}"/>
              </a:ext>
            </a:extLst>
          </p:cNvPr>
          <p:cNvSpPr>
            <a:spLocks noChangeArrowheads="1"/>
          </p:cNvSpPr>
          <p:nvPr/>
        </p:nvSpPr>
        <p:spPr bwMode="auto">
          <a:xfrm>
            <a:off x="390219" y="3558055"/>
            <a:ext cx="921296" cy="468244"/>
          </a:xfrm>
          <a:prstGeom prst="rect">
            <a:avLst/>
          </a:prstGeom>
          <a:solidFill>
            <a:sysClr val="window" lastClr="FFFFFF"/>
          </a:solidFill>
          <a:ln w="10795" algn="ctr">
            <a:solidFill>
              <a:sysClr val="window" lastClr="FFFFFF"/>
            </a:solidFill>
            <a:round/>
            <a:headEnd/>
            <a:tailEnd/>
          </a:ln>
        </p:spPr>
        <p:txBody>
          <a:bodyPr anchor="ctr"/>
          <a:lstStyle/>
          <a:p>
            <a:pPr>
              <a:defRPr/>
            </a:pPr>
            <a:r>
              <a:rPr lang="en-US" sz="1100" b="1" kern="0" dirty="0">
                <a:solidFill>
                  <a:srgbClr val="000000"/>
                </a:solidFill>
              </a:rPr>
              <a:t>Best or worst in class</a:t>
            </a:r>
          </a:p>
        </p:txBody>
      </p:sp>
      <p:pic>
        <p:nvPicPr>
          <p:cNvPr id="60" name="Picture 2">
            <a:extLst>
              <a:ext uri="{FF2B5EF4-FFF2-40B4-BE49-F238E27FC236}">
                <a16:creationId xmlns:a16="http://schemas.microsoft.com/office/drawing/2014/main" id="{0B860464-EC9A-47FA-9E0B-0230FC4C3B6E}"/>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20258" t="73442" r="72171" b="19653"/>
          <a:stretch/>
        </p:blipFill>
        <p:spPr bwMode="auto">
          <a:xfrm>
            <a:off x="1422476" y="4114788"/>
            <a:ext cx="338440" cy="2624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1" name="Picture 2">
            <a:extLst>
              <a:ext uri="{FF2B5EF4-FFF2-40B4-BE49-F238E27FC236}">
                <a16:creationId xmlns:a16="http://schemas.microsoft.com/office/drawing/2014/main" id="{50FF6A96-F111-48AF-8B26-33652ABEC6CC}"/>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61135" t="73402" r="31857" b="21288"/>
          <a:stretch/>
        </p:blipFill>
        <p:spPr bwMode="auto">
          <a:xfrm>
            <a:off x="3141118" y="4002633"/>
            <a:ext cx="313305" cy="201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2" name="Rechteck 69">
            <a:extLst>
              <a:ext uri="{FF2B5EF4-FFF2-40B4-BE49-F238E27FC236}">
                <a16:creationId xmlns:a16="http://schemas.microsoft.com/office/drawing/2014/main" id="{4AC96825-7F9E-4E08-9F5A-57DA7A1F1E2E}"/>
              </a:ext>
            </a:extLst>
          </p:cNvPr>
          <p:cNvSpPr>
            <a:spLocks noChangeArrowheads="1"/>
          </p:cNvSpPr>
          <p:nvPr/>
        </p:nvSpPr>
        <p:spPr bwMode="auto">
          <a:xfrm>
            <a:off x="3067815" y="4204498"/>
            <a:ext cx="2136467" cy="472546"/>
          </a:xfrm>
          <a:prstGeom prst="rect">
            <a:avLst/>
          </a:prstGeom>
          <a:noFill/>
          <a:ln w="10795" algn="ctr">
            <a:noFill/>
            <a:round/>
            <a:headEnd/>
            <a:tailEnd/>
          </a:ln>
        </p:spPr>
        <p:txBody>
          <a:bodyPr anchor="ctr"/>
          <a:lstStyle/>
          <a:p>
            <a:pPr>
              <a:defRPr/>
            </a:pPr>
            <a:r>
              <a:rPr lang="en-US" sz="1200" b="1" kern="0" dirty="0">
                <a:solidFill>
                  <a:srgbClr val="000000"/>
                </a:solidFill>
              </a:rPr>
              <a:t>Comparison group:</a:t>
            </a:r>
            <a:br>
              <a:rPr lang="en-US" sz="1200" kern="0" dirty="0">
                <a:solidFill>
                  <a:srgbClr val="000000"/>
                </a:solidFill>
              </a:rPr>
            </a:br>
            <a:r>
              <a:rPr lang="en-US" sz="1200" kern="0" dirty="0">
                <a:solidFill>
                  <a:srgbClr val="000000"/>
                </a:solidFill>
              </a:rPr>
              <a:t>Chinese competitors</a:t>
            </a:r>
          </a:p>
        </p:txBody>
      </p:sp>
      <p:cxnSp>
        <p:nvCxnSpPr>
          <p:cNvPr id="63" name="Gerade Verbindung 128">
            <a:extLst>
              <a:ext uri="{FF2B5EF4-FFF2-40B4-BE49-F238E27FC236}">
                <a16:creationId xmlns:a16="http://schemas.microsoft.com/office/drawing/2014/main" id="{2C77E03F-42F5-4EDA-978F-C3C7400BA350}"/>
              </a:ext>
            </a:extLst>
          </p:cNvPr>
          <p:cNvCxnSpPr/>
          <p:nvPr/>
        </p:nvCxnSpPr>
        <p:spPr bwMode="auto">
          <a:xfrm>
            <a:off x="3044715" y="3376611"/>
            <a:ext cx="20" cy="1296516"/>
          </a:xfrm>
          <a:prstGeom prst="line">
            <a:avLst/>
          </a:prstGeom>
          <a:solidFill>
            <a:srgbClr val="DDDDDD"/>
          </a:solidFill>
          <a:ln w="9525" cap="flat" cmpd="sng" algn="ctr">
            <a:solidFill>
              <a:schemeClr val="accent5">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4" name="Gerade Verbindung 101">
            <a:extLst>
              <a:ext uri="{FF2B5EF4-FFF2-40B4-BE49-F238E27FC236}">
                <a16:creationId xmlns:a16="http://schemas.microsoft.com/office/drawing/2014/main" id="{A752ADD7-3F88-4C09-B8C9-729AE2C46426}"/>
              </a:ext>
            </a:extLst>
          </p:cNvPr>
          <p:cNvCxnSpPr/>
          <p:nvPr/>
        </p:nvCxnSpPr>
        <p:spPr bwMode="auto">
          <a:xfrm>
            <a:off x="3053358" y="4673127"/>
            <a:ext cx="1525269" cy="0"/>
          </a:xfrm>
          <a:prstGeom prst="line">
            <a:avLst/>
          </a:prstGeom>
          <a:solidFill>
            <a:srgbClr val="DDDDDD"/>
          </a:solidFill>
          <a:ln w="9525" cap="flat" cmpd="sng" algn="ctr">
            <a:solidFill>
              <a:schemeClr val="accent5">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65" name="Ellipse 91">
            <a:extLst>
              <a:ext uri="{FF2B5EF4-FFF2-40B4-BE49-F238E27FC236}">
                <a16:creationId xmlns:a16="http://schemas.microsoft.com/office/drawing/2014/main" id="{BF09081C-6F03-475E-A01E-D16BCFBD23EA}"/>
              </a:ext>
            </a:extLst>
          </p:cNvPr>
          <p:cNvSpPr/>
          <p:nvPr/>
        </p:nvSpPr>
        <p:spPr bwMode="auto">
          <a:xfrm>
            <a:off x="2969174" y="3276332"/>
            <a:ext cx="180000" cy="180000"/>
          </a:xfrm>
          <a:prstGeom prst="ellipse">
            <a:avLst/>
          </a:prstGeom>
          <a:solidFill>
            <a:srgbClr val="FF0000"/>
          </a:solidFill>
          <a:ln w="12700" cap="flat" cmpd="sng" algn="ctr">
            <a:noFill/>
            <a:prstDash val="solid"/>
            <a:round/>
            <a:headEnd type="none" w="med" len="med"/>
            <a:tailEnd type="none" w="med" len="med"/>
          </a:ln>
          <a:effectLst>
            <a:glow rad="63500">
              <a:srgbClr val="9BBB59">
                <a:satMod val="175000"/>
                <a:alpha val="40000"/>
              </a:srgbClr>
            </a:glow>
          </a:effectLst>
        </p:spPr>
        <p:txBody>
          <a:bodyPr vert="horz" wrap="square" lIns="91440" tIns="45720" rIns="91440" bIns="45720" numCol="1" rtlCol="0" anchor="ctr" anchorCtr="0" compatLnSpc="1">
            <a:prstTxWarp prst="textNoShape">
              <a:avLst/>
            </a:prstTxWarp>
          </a:bodyPr>
          <a:lstStyle/>
          <a:p>
            <a:pPr algn="ctr">
              <a:defRPr/>
            </a:pPr>
            <a:endParaRPr lang="en-US" kern="0" dirty="0">
              <a:solidFill>
                <a:srgbClr val="000000"/>
              </a:solidFill>
            </a:endParaRPr>
          </a:p>
        </p:txBody>
      </p:sp>
      <p:pic>
        <p:nvPicPr>
          <p:cNvPr id="66" name="Picture 65">
            <a:extLst>
              <a:ext uri="{FF2B5EF4-FFF2-40B4-BE49-F238E27FC236}">
                <a16:creationId xmlns:a16="http://schemas.microsoft.com/office/drawing/2014/main" id="{D6564E1E-C9C9-47CA-9A69-C8932B882E7C}"/>
              </a:ext>
            </a:extLst>
          </p:cNvPr>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00938" y="6046790"/>
            <a:ext cx="1856232" cy="417384"/>
          </a:xfrm>
          <a:prstGeom prst="rect">
            <a:avLst/>
          </a:prstGeom>
          <a:noFill/>
          <a:ln>
            <a:noFill/>
          </a:ln>
        </p:spPr>
      </p:pic>
      <p:pic>
        <p:nvPicPr>
          <p:cNvPr id="67" name="Picture 3" descr="A close up of a logo&#10;&#10;Description automatically generated">
            <a:extLst>
              <a:ext uri="{FF2B5EF4-FFF2-40B4-BE49-F238E27FC236}">
                <a16:creationId xmlns:a16="http://schemas.microsoft.com/office/drawing/2014/main" id="{19412911-41C0-4BCF-B7FD-03A9C15C4065}"/>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flipH="1">
            <a:off x="400938" y="5932445"/>
            <a:ext cx="9505058" cy="84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8" name="TextBox 67">
            <a:extLst>
              <a:ext uri="{FF2B5EF4-FFF2-40B4-BE49-F238E27FC236}">
                <a16:creationId xmlns:a16="http://schemas.microsoft.com/office/drawing/2014/main" id="{433CBD9A-DD28-4314-A8AA-FCF9F40AB5EC}"/>
              </a:ext>
            </a:extLst>
          </p:cNvPr>
          <p:cNvSpPr txBox="1"/>
          <p:nvPr/>
        </p:nvSpPr>
        <p:spPr>
          <a:xfrm>
            <a:off x="215902" y="596599"/>
            <a:ext cx="9469442" cy="369332"/>
          </a:xfrm>
          <a:prstGeom prst="rect">
            <a:avLst/>
          </a:prstGeom>
          <a:noFill/>
        </p:spPr>
        <p:txBody>
          <a:bodyPr wrap="square">
            <a:spAutoFit/>
          </a:bodyPr>
          <a:lstStyle/>
          <a:p>
            <a:r>
              <a:rPr lang="en-US" b="1" dirty="0">
                <a:solidFill>
                  <a:prstClr val="black"/>
                </a:solidFill>
                <a:latin typeface="Century Gothic" panose="020B0502020202020204" pitchFamily="34" charset="0"/>
              </a:rPr>
              <a:t>- is an efficient tool to compare yourself with competitors</a:t>
            </a:r>
            <a:endParaRPr lang="en-ZA" b="1" dirty="0"/>
          </a:p>
        </p:txBody>
      </p:sp>
    </p:spTree>
    <p:extLst>
      <p:ext uri="{BB962C8B-B14F-4D97-AF65-F5344CB8AC3E}">
        <p14:creationId xmlns:p14="http://schemas.microsoft.com/office/powerpoint/2010/main" val="11039202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4170EB5-FE1E-4C25-871C-64EF212BC948}"/>
              </a:ext>
            </a:extLst>
          </p:cNvPr>
          <p:cNvSpPr/>
          <p:nvPr/>
        </p:nvSpPr>
        <p:spPr>
          <a:xfrm>
            <a:off x="312235" y="1181642"/>
            <a:ext cx="9593766" cy="498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7" name="Picture 3" descr="A close up of a logo&#10;&#10;Description automatically generated">
            <a:extLst>
              <a:ext uri="{FF2B5EF4-FFF2-40B4-BE49-F238E27FC236}">
                <a16:creationId xmlns:a16="http://schemas.microsoft.com/office/drawing/2014/main" id="{278C3439-77CF-4B42-837A-B9E82E9148B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400938" y="5932445"/>
            <a:ext cx="9505058" cy="84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1">
            <a:extLst>
              <a:ext uri="{FF2B5EF4-FFF2-40B4-BE49-F238E27FC236}">
                <a16:creationId xmlns:a16="http://schemas.microsoft.com/office/drawing/2014/main" id="{18584E63-D4BF-4C63-BEAB-BB26B4CAD7D7}"/>
              </a:ext>
            </a:extLst>
          </p:cNvPr>
          <p:cNvSpPr txBox="1">
            <a:spLocks/>
          </p:cNvSpPr>
          <p:nvPr/>
        </p:nvSpPr>
        <p:spPr bwMode="auto">
          <a:xfrm>
            <a:off x="200472" y="205000"/>
            <a:ext cx="8424239" cy="872896"/>
          </a:xfrm>
          <a:prstGeom prst="rect">
            <a:avLst/>
          </a:prstGeom>
        </p:spPr>
        <p:txBody>
          <a:bodyPr vert="horz" lIns="91440" tIns="45720" rIns="91440" bIns="45720" rtlCol="0" anchor="ctr">
            <a:noAutofit/>
          </a:bodyPr>
          <a:lstStyle>
            <a:defPPr>
              <a:defRPr lang="en-US"/>
            </a:defPPr>
            <a:lvl1pPr>
              <a:lnSpc>
                <a:spcPct val="90000"/>
              </a:lnSpc>
              <a:spcBef>
                <a:spcPct val="0"/>
              </a:spcBef>
              <a:defRPr sz="2400" b="1">
                <a:solidFill>
                  <a:schemeClr val="accent6">
                    <a:lumMod val="50000"/>
                  </a:schemeClr>
                </a:solidFill>
                <a:latin typeface="Arial" panose="020B0604020202020204" pitchFamily="34" charset="0"/>
                <a:ea typeface="+mj-ea"/>
                <a:cs typeface="Arial" panose="020B0604020202020204" pitchFamily="34" charset="0"/>
              </a:defRPr>
            </a:lvl1pPr>
          </a:lstStyle>
          <a:p>
            <a:endParaRPr lang="en-GB" dirty="0">
              <a:solidFill>
                <a:schemeClr val="tx1"/>
              </a:solidFill>
            </a:endParaRPr>
          </a:p>
        </p:txBody>
      </p:sp>
      <p:sp>
        <p:nvSpPr>
          <p:cNvPr id="6" name="Title 1">
            <a:extLst>
              <a:ext uri="{FF2B5EF4-FFF2-40B4-BE49-F238E27FC236}">
                <a16:creationId xmlns:a16="http://schemas.microsoft.com/office/drawing/2014/main" id="{A31FC748-B01B-42DD-B32C-9960E74BD47E}"/>
              </a:ext>
            </a:extLst>
          </p:cNvPr>
          <p:cNvSpPr txBox="1">
            <a:spLocks/>
          </p:cNvSpPr>
          <p:nvPr/>
        </p:nvSpPr>
        <p:spPr bwMode="auto">
          <a:xfrm>
            <a:off x="200472" y="291985"/>
            <a:ext cx="9505056"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defTabSz="914400"/>
            <a:r>
              <a:rPr lang="en-US" altLang="de-DE" sz="3000" b="1" dirty="0">
                <a:solidFill>
                  <a:srgbClr val="0070C0"/>
                </a:solidFill>
                <a:latin typeface="Century Gothic" panose="020B0502020202020204" pitchFamily="34" charset="0"/>
                <a:cs typeface="Arial" panose="020B0604020202020204" pitchFamily="34" charset="0"/>
              </a:rPr>
              <a:t>The Benchmarking Process focusses on 12 areas of the TDM Industry</a:t>
            </a:r>
            <a:endParaRPr lang="en-ZA" sz="3000" b="1" dirty="0">
              <a:solidFill>
                <a:srgbClr val="0070C0"/>
              </a:solidFill>
              <a:latin typeface="Century Gothic" panose="020B0502020202020204" pitchFamily="34" charset="0"/>
              <a:cs typeface="Arial" panose="020B0604020202020204" pitchFamily="34" charset="0"/>
            </a:endParaRPr>
          </a:p>
        </p:txBody>
      </p:sp>
      <p:sp>
        <p:nvSpPr>
          <p:cNvPr id="3" name="Text Box 3">
            <a:extLst>
              <a:ext uri="{FF2B5EF4-FFF2-40B4-BE49-F238E27FC236}">
                <a16:creationId xmlns:a16="http://schemas.microsoft.com/office/drawing/2014/main" id="{551E3268-E67C-47BC-8507-5CF593D7AC58}"/>
              </a:ext>
            </a:extLst>
          </p:cNvPr>
          <p:cNvSpPr txBox="1">
            <a:spLocks noChangeArrowheads="1"/>
          </p:cNvSpPr>
          <p:nvPr/>
        </p:nvSpPr>
        <p:spPr bwMode="auto">
          <a:xfrm>
            <a:off x="1447186" y="2096740"/>
            <a:ext cx="1486615" cy="65708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rgbClr val="000000"/>
                </a:solidFill>
                <a:effectLst/>
                <a:latin typeface="Century Gothic" panose="020B0502020202020204" pitchFamily="34" charset="0"/>
              </a:rPr>
              <a:t>Market Intelligence (Market Knowledg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4" name="Text Box 4">
            <a:extLst>
              <a:ext uri="{FF2B5EF4-FFF2-40B4-BE49-F238E27FC236}">
                <a16:creationId xmlns:a16="http://schemas.microsoft.com/office/drawing/2014/main" id="{5F470C3B-7E07-4309-923B-2910A7D21DA9}"/>
              </a:ext>
            </a:extLst>
          </p:cNvPr>
          <p:cNvSpPr txBox="1">
            <a:spLocks noChangeArrowheads="1"/>
          </p:cNvSpPr>
          <p:nvPr/>
        </p:nvSpPr>
        <p:spPr bwMode="auto">
          <a:xfrm>
            <a:off x="3166768" y="2096740"/>
            <a:ext cx="1486615" cy="49284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rgbClr val="000000"/>
                </a:solidFill>
                <a:effectLst/>
                <a:latin typeface="Century Gothic" panose="020B0502020202020204" pitchFamily="34" charset="0"/>
              </a:rPr>
              <a:t>Service Integration (Product Suppor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 name="Text Box 5">
            <a:extLst>
              <a:ext uri="{FF2B5EF4-FFF2-40B4-BE49-F238E27FC236}">
                <a16:creationId xmlns:a16="http://schemas.microsoft.com/office/drawing/2014/main" id="{21E5FAF5-7569-4A22-B2BB-77BA96040B6D}"/>
              </a:ext>
            </a:extLst>
          </p:cNvPr>
          <p:cNvSpPr txBox="1">
            <a:spLocks noChangeArrowheads="1"/>
          </p:cNvSpPr>
          <p:nvPr/>
        </p:nvSpPr>
        <p:spPr bwMode="auto">
          <a:xfrm>
            <a:off x="4849509" y="2094467"/>
            <a:ext cx="1486615" cy="51167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rgbClr val="000000"/>
                </a:solidFill>
                <a:effectLst/>
                <a:latin typeface="Century Gothic" panose="020B0502020202020204" pitchFamily="34" charset="0"/>
              </a:rPr>
              <a:t>Collaboration (Clustering)</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 name="Text Box 6">
            <a:extLst>
              <a:ext uri="{FF2B5EF4-FFF2-40B4-BE49-F238E27FC236}">
                <a16:creationId xmlns:a16="http://schemas.microsoft.com/office/drawing/2014/main" id="{5CE8B364-B42A-4A34-9458-EAC45E032D50}"/>
              </a:ext>
            </a:extLst>
          </p:cNvPr>
          <p:cNvSpPr txBox="1">
            <a:spLocks noChangeArrowheads="1"/>
          </p:cNvSpPr>
          <p:nvPr/>
        </p:nvSpPr>
        <p:spPr bwMode="auto">
          <a:xfrm>
            <a:off x="6555767" y="2096740"/>
            <a:ext cx="1486615" cy="71185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rgbClr val="000000"/>
                </a:solidFill>
                <a:effectLst/>
                <a:latin typeface="Century Gothic" panose="020B0502020202020204" pitchFamily="34" charset="0"/>
              </a:rPr>
              <a:t>System Environment (Advanced Support Systems)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2" name="Text Box 7">
            <a:extLst>
              <a:ext uri="{FF2B5EF4-FFF2-40B4-BE49-F238E27FC236}">
                <a16:creationId xmlns:a16="http://schemas.microsoft.com/office/drawing/2014/main" id="{8BD8BE5A-6114-4C94-A870-02B2174341A3}"/>
              </a:ext>
            </a:extLst>
          </p:cNvPr>
          <p:cNvSpPr txBox="1">
            <a:spLocks noChangeArrowheads="1"/>
          </p:cNvSpPr>
          <p:nvPr/>
        </p:nvSpPr>
        <p:spPr bwMode="auto">
          <a:xfrm>
            <a:off x="1429915" y="3610045"/>
            <a:ext cx="1529793" cy="27624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rgbClr val="000000"/>
                </a:solidFill>
                <a:effectLst/>
                <a:latin typeface="Century Gothic" panose="020B0502020202020204" pitchFamily="34" charset="0"/>
              </a:rPr>
              <a:t>Market Appearanc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3" name="Text Box 8">
            <a:extLst>
              <a:ext uri="{FF2B5EF4-FFF2-40B4-BE49-F238E27FC236}">
                <a16:creationId xmlns:a16="http://schemas.microsoft.com/office/drawing/2014/main" id="{47BCD990-A08E-4B7B-87E5-272274513E2F}"/>
              </a:ext>
            </a:extLst>
          </p:cNvPr>
          <p:cNvSpPr txBox="1">
            <a:spLocks noChangeArrowheads="1"/>
          </p:cNvSpPr>
          <p:nvPr/>
        </p:nvSpPr>
        <p:spPr bwMode="auto">
          <a:xfrm>
            <a:off x="3149337" y="3610045"/>
            <a:ext cx="1538908" cy="27624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rgbClr val="000000"/>
                </a:solidFill>
                <a:effectLst/>
                <a:latin typeface="Century Gothic" panose="020B0502020202020204" pitchFamily="34" charset="0"/>
              </a:rPr>
              <a:t>Product Innovation</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4" name="Text Box 9">
            <a:extLst>
              <a:ext uri="{FF2B5EF4-FFF2-40B4-BE49-F238E27FC236}">
                <a16:creationId xmlns:a16="http://schemas.microsoft.com/office/drawing/2014/main" id="{538AE59E-0C8F-4ADE-A9A3-AD12C59CF2A4}"/>
              </a:ext>
            </a:extLst>
          </p:cNvPr>
          <p:cNvSpPr txBox="1">
            <a:spLocks noChangeArrowheads="1"/>
          </p:cNvSpPr>
          <p:nvPr/>
        </p:nvSpPr>
        <p:spPr bwMode="auto">
          <a:xfrm>
            <a:off x="4849509" y="3607772"/>
            <a:ext cx="1486615" cy="46700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ts val="500"/>
              </a:spcAft>
              <a:buClrTx/>
              <a:buSzTx/>
              <a:buFontTx/>
              <a:buNone/>
              <a:tabLst/>
            </a:pPr>
            <a:r>
              <a:rPr kumimoji="0" lang="en-GB" altLang="en-US" sz="1100" b="0" i="0" u="none" strike="noStrike" cap="none" normalizeH="0" baseline="0">
                <a:ln>
                  <a:noFill/>
                </a:ln>
                <a:solidFill>
                  <a:srgbClr val="000000"/>
                </a:solidFill>
                <a:effectLst/>
                <a:latin typeface="Century Gothic" panose="020B0502020202020204" pitchFamily="34" charset="0"/>
              </a:rPr>
              <a:t>Manufacturing    Process Structur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5" name="Text Box 10">
            <a:extLst>
              <a:ext uri="{FF2B5EF4-FFF2-40B4-BE49-F238E27FC236}">
                <a16:creationId xmlns:a16="http://schemas.microsoft.com/office/drawing/2014/main" id="{FDB73CC2-26BB-4752-A24A-797005A541C6}"/>
              </a:ext>
            </a:extLst>
          </p:cNvPr>
          <p:cNvSpPr txBox="1">
            <a:spLocks noChangeArrowheads="1"/>
          </p:cNvSpPr>
          <p:nvPr/>
        </p:nvSpPr>
        <p:spPr bwMode="auto">
          <a:xfrm>
            <a:off x="6555767" y="3610045"/>
            <a:ext cx="1486615" cy="46473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rgbClr val="000000"/>
                </a:solidFill>
                <a:effectLst/>
                <a:latin typeface="Century Gothic" panose="020B0502020202020204" pitchFamily="34" charset="0"/>
              </a:rPr>
              <a:t>Technology          Capabilit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6" name="Text Box 11">
            <a:extLst>
              <a:ext uri="{FF2B5EF4-FFF2-40B4-BE49-F238E27FC236}">
                <a16:creationId xmlns:a16="http://schemas.microsoft.com/office/drawing/2014/main" id="{FA723C8C-E998-470F-B666-ACCE2A44CD27}"/>
              </a:ext>
            </a:extLst>
          </p:cNvPr>
          <p:cNvSpPr txBox="1">
            <a:spLocks noChangeArrowheads="1"/>
          </p:cNvSpPr>
          <p:nvPr/>
        </p:nvSpPr>
        <p:spPr bwMode="auto">
          <a:xfrm>
            <a:off x="1445117" y="4947839"/>
            <a:ext cx="1529793" cy="27624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rgbClr val="000000"/>
                </a:solidFill>
                <a:effectLst/>
                <a:latin typeface="Century Gothic" panose="020B0502020202020204" pitchFamily="34" charset="0"/>
              </a:rPr>
              <a:t>Strateg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7" name="Text Box 12">
            <a:extLst>
              <a:ext uri="{FF2B5EF4-FFF2-40B4-BE49-F238E27FC236}">
                <a16:creationId xmlns:a16="http://schemas.microsoft.com/office/drawing/2014/main" id="{F198C502-CE9F-4EBB-AF40-B959B2E80D53}"/>
              </a:ext>
            </a:extLst>
          </p:cNvPr>
          <p:cNvSpPr txBox="1">
            <a:spLocks noChangeArrowheads="1"/>
          </p:cNvSpPr>
          <p:nvPr/>
        </p:nvSpPr>
        <p:spPr bwMode="auto">
          <a:xfrm>
            <a:off x="3164540" y="4947839"/>
            <a:ext cx="1538908" cy="27624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rgbClr val="000000"/>
                </a:solidFill>
                <a:effectLst/>
                <a:latin typeface="Century Gothic" panose="020B0502020202020204" pitchFamily="34" charset="0"/>
              </a:rPr>
              <a:t>Product Focu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8" name="Text Box 13">
            <a:extLst>
              <a:ext uri="{FF2B5EF4-FFF2-40B4-BE49-F238E27FC236}">
                <a16:creationId xmlns:a16="http://schemas.microsoft.com/office/drawing/2014/main" id="{115B3115-66E1-4FF6-BB67-9200B93D856F}"/>
              </a:ext>
            </a:extLst>
          </p:cNvPr>
          <p:cNvSpPr txBox="1">
            <a:spLocks noChangeArrowheads="1"/>
          </p:cNvSpPr>
          <p:nvPr/>
        </p:nvSpPr>
        <p:spPr bwMode="auto">
          <a:xfrm>
            <a:off x="4864711" y="4945566"/>
            <a:ext cx="1486615" cy="46700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rgbClr val="000000"/>
                </a:solidFill>
                <a:effectLst/>
                <a:latin typeface="Century Gothic" panose="020B0502020202020204" pitchFamily="34" charset="0"/>
              </a:rPr>
              <a:t>Shop Floor         Managem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0" name="Text Box 14">
            <a:extLst>
              <a:ext uri="{FF2B5EF4-FFF2-40B4-BE49-F238E27FC236}">
                <a16:creationId xmlns:a16="http://schemas.microsoft.com/office/drawing/2014/main" id="{0F940D58-48A0-43EC-B6C8-B82DD6927740}"/>
              </a:ext>
            </a:extLst>
          </p:cNvPr>
          <p:cNvSpPr txBox="1">
            <a:spLocks noChangeArrowheads="1"/>
          </p:cNvSpPr>
          <p:nvPr/>
        </p:nvSpPr>
        <p:spPr bwMode="auto">
          <a:xfrm>
            <a:off x="6570969" y="4947839"/>
            <a:ext cx="1486615" cy="56832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rgbClr val="000000"/>
                </a:solidFill>
                <a:effectLst/>
                <a:latin typeface="Century Gothic" panose="020B0502020202020204" pitchFamily="34" charset="0"/>
              </a:rPr>
              <a:t>Employee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rgbClr val="000000"/>
                </a:solidFill>
                <a:effectLst/>
                <a:latin typeface="Century Gothic" panose="020B0502020202020204" pitchFamily="34" charset="0"/>
              </a:rPr>
              <a:t>Qualifications (Skills)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21" name="Rectangle 15">
            <a:extLst>
              <a:ext uri="{FF2B5EF4-FFF2-40B4-BE49-F238E27FC236}">
                <a16:creationId xmlns:a16="http://schemas.microsoft.com/office/drawing/2014/main" id="{CE2E02C8-17A1-4670-8FEE-B551FCB1F543}"/>
              </a:ext>
            </a:extLst>
          </p:cNvPr>
          <p:cNvSpPr>
            <a:spLocks noChangeArrowheads="1"/>
          </p:cNvSpPr>
          <p:nvPr/>
        </p:nvSpPr>
        <p:spPr bwMode="auto">
          <a:xfrm>
            <a:off x="1457921" y="5548235"/>
            <a:ext cx="1475881" cy="217643"/>
          </a:xfrm>
          <a:prstGeom prst="rect">
            <a:avLst/>
          </a:prstGeom>
          <a:solidFill>
            <a:srgbClr val="375077"/>
          </a:solidFill>
          <a:ln>
            <a:noFill/>
          </a:ln>
          <a:effectLst/>
          <a:extLs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endParaRPr lang="en-ZA"/>
          </a:p>
        </p:txBody>
      </p:sp>
      <p:sp>
        <p:nvSpPr>
          <p:cNvPr id="22" name="Text Box 16">
            <a:extLst>
              <a:ext uri="{FF2B5EF4-FFF2-40B4-BE49-F238E27FC236}">
                <a16:creationId xmlns:a16="http://schemas.microsoft.com/office/drawing/2014/main" id="{411DEF12-441C-42EF-8002-347A434B7266}"/>
              </a:ext>
            </a:extLst>
          </p:cNvPr>
          <p:cNvSpPr txBox="1">
            <a:spLocks noChangeArrowheads="1"/>
          </p:cNvSpPr>
          <p:nvPr/>
        </p:nvSpPr>
        <p:spPr bwMode="auto">
          <a:xfrm>
            <a:off x="1498871" y="5534585"/>
            <a:ext cx="1399649" cy="244265"/>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1" i="0" u="none" strike="noStrike" cap="none" normalizeH="0" baseline="0">
                <a:ln>
                  <a:noFill/>
                </a:ln>
                <a:solidFill>
                  <a:srgbClr val="FFFFFF"/>
                </a:solidFill>
                <a:effectLst/>
                <a:latin typeface="Century Gothic" panose="020B0502020202020204" pitchFamily="34" charset="0"/>
              </a:rPr>
              <a:t>MARKE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3" name="Rectangle 17">
            <a:extLst>
              <a:ext uri="{FF2B5EF4-FFF2-40B4-BE49-F238E27FC236}">
                <a16:creationId xmlns:a16="http://schemas.microsoft.com/office/drawing/2014/main" id="{79E8D986-3152-4AEB-BB58-B632C7895317}"/>
              </a:ext>
            </a:extLst>
          </p:cNvPr>
          <p:cNvSpPr>
            <a:spLocks noChangeArrowheads="1"/>
          </p:cNvSpPr>
          <p:nvPr/>
        </p:nvSpPr>
        <p:spPr bwMode="auto">
          <a:xfrm>
            <a:off x="3171450" y="5548235"/>
            <a:ext cx="1475881" cy="217643"/>
          </a:xfrm>
          <a:prstGeom prst="rect">
            <a:avLst/>
          </a:prstGeom>
          <a:solidFill>
            <a:srgbClr val="375077"/>
          </a:solidFill>
          <a:ln>
            <a:noFill/>
          </a:ln>
          <a:effectLst/>
          <a:extLs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endParaRPr lang="en-ZA"/>
          </a:p>
        </p:txBody>
      </p:sp>
      <p:sp>
        <p:nvSpPr>
          <p:cNvPr id="24" name="Text Box 18">
            <a:extLst>
              <a:ext uri="{FF2B5EF4-FFF2-40B4-BE49-F238E27FC236}">
                <a16:creationId xmlns:a16="http://schemas.microsoft.com/office/drawing/2014/main" id="{330E4D0A-8894-49F8-98A9-1E39441CEAE8}"/>
              </a:ext>
            </a:extLst>
          </p:cNvPr>
          <p:cNvSpPr txBox="1">
            <a:spLocks noChangeArrowheads="1"/>
          </p:cNvSpPr>
          <p:nvPr/>
        </p:nvSpPr>
        <p:spPr bwMode="auto">
          <a:xfrm>
            <a:off x="3212400" y="5534585"/>
            <a:ext cx="1399649" cy="244265"/>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1" i="0" u="none" strike="noStrike" cap="none" normalizeH="0" baseline="0">
                <a:ln>
                  <a:noFill/>
                </a:ln>
                <a:solidFill>
                  <a:srgbClr val="FFFFFF"/>
                </a:solidFill>
                <a:effectLst/>
                <a:latin typeface="Century Gothic" panose="020B0502020202020204" pitchFamily="34" charset="0"/>
              </a:rPr>
              <a:t>PRODUC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5" name="Rectangle 19">
            <a:extLst>
              <a:ext uri="{FF2B5EF4-FFF2-40B4-BE49-F238E27FC236}">
                <a16:creationId xmlns:a16="http://schemas.microsoft.com/office/drawing/2014/main" id="{0859EF1A-3F19-4459-8B3C-6FE4B4BC76DD}"/>
              </a:ext>
            </a:extLst>
          </p:cNvPr>
          <p:cNvSpPr>
            <a:spLocks noChangeArrowheads="1"/>
          </p:cNvSpPr>
          <p:nvPr/>
        </p:nvSpPr>
        <p:spPr bwMode="auto">
          <a:xfrm>
            <a:off x="4854906" y="5548235"/>
            <a:ext cx="1475881" cy="217643"/>
          </a:xfrm>
          <a:prstGeom prst="rect">
            <a:avLst/>
          </a:prstGeom>
          <a:solidFill>
            <a:srgbClr val="375077"/>
          </a:solidFill>
          <a:ln>
            <a:noFill/>
          </a:ln>
          <a:effectLst/>
          <a:extLs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endParaRPr lang="en-ZA"/>
          </a:p>
        </p:txBody>
      </p:sp>
      <p:sp>
        <p:nvSpPr>
          <p:cNvPr id="26" name="Text Box 20">
            <a:extLst>
              <a:ext uri="{FF2B5EF4-FFF2-40B4-BE49-F238E27FC236}">
                <a16:creationId xmlns:a16="http://schemas.microsoft.com/office/drawing/2014/main" id="{03E4C966-80F7-4ECB-86A9-F3111A80E5AF}"/>
              </a:ext>
            </a:extLst>
          </p:cNvPr>
          <p:cNvSpPr txBox="1">
            <a:spLocks noChangeArrowheads="1"/>
          </p:cNvSpPr>
          <p:nvPr/>
        </p:nvSpPr>
        <p:spPr bwMode="auto">
          <a:xfrm>
            <a:off x="4895857" y="5534585"/>
            <a:ext cx="1399649" cy="244265"/>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1" i="0" u="none" strike="noStrike" cap="none" normalizeH="0" baseline="0">
                <a:ln>
                  <a:noFill/>
                </a:ln>
                <a:solidFill>
                  <a:srgbClr val="FFFFFF"/>
                </a:solidFill>
                <a:effectLst/>
                <a:latin typeface="Century Gothic" panose="020B0502020202020204" pitchFamily="34" charset="0"/>
              </a:rPr>
              <a:t>PROCES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27" name="Rectangle 21">
            <a:extLst>
              <a:ext uri="{FF2B5EF4-FFF2-40B4-BE49-F238E27FC236}">
                <a16:creationId xmlns:a16="http://schemas.microsoft.com/office/drawing/2014/main" id="{107A93A4-AD9F-45A0-9841-2128C57E5FAB}"/>
              </a:ext>
            </a:extLst>
          </p:cNvPr>
          <p:cNvSpPr>
            <a:spLocks noChangeArrowheads="1"/>
          </p:cNvSpPr>
          <p:nvPr/>
        </p:nvSpPr>
        <p:spPr bwMode="auto">
          <a:xfrm>
            <a:off x="6555767" y="5541077"/>
            <a:ext cx="1475881" cy="217643"/>
          </a:xfrm>
          <a:prstGeom prst="rect">
            <a:avLst/>
          </a:prstGeom>
          <a:solidFill>
            <a:srgbClr val="375077"/>
          </a:solidFill>
          <a:ln>
            <a:noFill/>
          </a:ln>
          <a:effectLst/>
          <a:extLs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endParaRPr lang="en-ZA"/>
          </a:p>
        </p:txBody>
      </p:sp>
      <p:sp>
        <p:nvSpPr>
          <p:cNvPr id="28" name="Text Box 22">
            <a:extLst>
              <a:ext uri="{FF2B5EF4-FFF2-40B4-BE49-F238E27FC236}">
                <a16:creationId xmlns:a16="http://schemas.microsoft.com/office/drawing/2014/main" id="{78DA313B-A7E7-4239-A3B9-BFAC9634AB4D}"/>
              </a:ext>
            </a:extLst>
          </p:cNvPr>
          <p:cNvSpPr txBox="1">
            <a:spLocks noChangeArrowheads="1"/>
          </p:cNvSpPr>
          <p:nvPr/>
        </p:nvSpPr>
        <p:spPr bwMode="auto">
          <a:xfrm>
            <a:off x="6596717" y="5527427"/>
            <a:ext cx="1399649" cy="244265"/>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1" i="0" u="none" strike="noStrike" cap="none" normalizeH="0" baseline="0">
                <a:ln>
                  <a:noFill/>
                </a:ln>
                <a:solidFill>
                  <a:srgbClr val="FFFFFF"/>
                </a:solidFill>
                <a:effectLst/>
                <a:latin typeface="Century Gothic" panose="020B0502020202020204" pitchFamily="34" charset="0"/>
              </a:rPr>
              <a:t>RESOURCE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6167" name="Picture 23">
            <a:extLst>
              <a:ext uri="{FF2B5EF4-FFF2-40B4-BE49-F238E27FC236}">
                <a16:creationId xmlns:a16="http://schemas.microsoft.com/office/drawing/2014/main" id="{75E23A78-2BD2-453C-808A-7CCE089526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9835" y="1326982"/>
            <a:ext cx="843344" cy="70639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6168" name="Picture 24">
            <a:extLst>
              <a:ext uri="{FF2B5EF4-FFF2-40B4-BE49-F238E27FC236}">
                <a16:creationId xmlns:a16="http://schemas.microsoft.com/office/drawing/2014/main" id="{CBF2F961-B0BF-4610-8CAC-4BD174EADAF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92370" y="1345820"/>
            <a:ext cx="843344" cy="68756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6169" name="Picture 25">
            <a:extLst>
              <a:ext uri="{FF2B5EF4-FFF2-40B4-BE49-F238E27FC236}">
                <a16:creationId xmlns:a16="http://schemas.microsoft.com/office/drawing/2014/main" id="{1C22D4B3-4071-4634-8405-44B2E8A253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185674" y="1345820"/>
            <a:ext cx="804119" cy="70639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6170" name="Picture 26">
            <a:extLst>
              <a:ext uri="{FF2B5EF4-FFF2-40B4-BE49-F238E27FC236}">
                <a16:creationId xmlns:a16="http://schemas.microsoft.com/office/drawing/2014/main" id="{A9A50CF2-194A-4867-9E0B-C77555C1826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08978" y="1326982"/>
            <a:ext cx="804119" cy="70639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6171" name="Picture 27">
            <a:extLst>
              <a:ext uri="{FF2B5EF4-FFF2-40B4-BE49-F238E27FC236}">
                <a16:creationId xmlns:a16="http://schemas.microsoft.com/office/drawing/2014/main" id="{07FF22BF-B1DC-4EB6-B3E8-25087917A95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77699" y="2862173"/>
            <a:ext cx="813925" cy="69697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6172" name="Picture 28">
            <a:extLst>
              <a:ext uri="{FF2B5EF4-FFF2-40B4-BE49-F238E27FC236}">
                <a16:creationId xmlns:a16="http://schemas.microsoft.com/office/drawing/2014/main" id="{B09D03B9-E332-4777-97EF-9EA132975F7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16885" y="2852754"/>
            <a:ext cx="794313" cy="70639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6173" name="Picture 29">
            <a:extLst>
              <a:ext uri="{FF2B5EF4-FFF2-40B4-BE49-F238E27FC236}">
                <a16:creationId xmlns:a16="http://schemas.microsoft.com/office/drawing/2014/main" id="{25A9861C-21D6-43C1-AE6D-AB94E82FAEE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66061" y="2852754"/>
            <a:ext cx="823732" cy="70639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6174" name="Picture 30">
            <a:extLst>
              <a:ext uri="{FF2B5EF4-FFF2-40B4-BE49-F238E27FC236}">
                <a16:creationId xmlns:a16="http://schemas.microsoft.com/office/drawing/2014/main" id="{158AD850-D219-4EA2-B0A7-F7A08EBDEC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08978" y="2862173"/>
            <a:ext cx="804119" cy="71581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6175" name="Picture 31">
            <a:extLst>
              <a:ext uri="{FF2B5EF4-FFF2-40B4-BE49-F238E27FC236}">
                <a16:creationId xmlns:a16="http://schemas.microsoft.com/office/drawing/2014/main" id="{3FD1800C-F475-4398-A239-9C682F72305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807116" y="4179133"/>
            <a:ext cx="794313" cy="71581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6176" name="Picture 32">
            <a:extLst>
              <a:ext uri="{FF2B5EF4-FFF2-40B4-BE49-F238E27FC236}">
                <a16:creationId xmlns:a16="http://schemas.microsoft.com/office/drawing/2014/main" id="{3FC4BB24-E010-4EAC-B580-83B2D67DFF2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524414" y="4197971"/>
            <a:ext cx="813925" cy="69697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6177" name="Picture 33">
            <a:extLst>
              <a:ext uri="{FF2B5EF4-FFF2-40B4-BE49-F238E27FC236}">
                <a16:creationId xmlns:a16="http://schemas.microsoft.com/office/drawing/2014/main" id="{BBF19B46-9637-4955-8BF2-5EA87FE41587}"/>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209206" y="4207389"/>
            <a:ext cx="813925" cy="68756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6178" name="Picture 34">
            <a:extLst>
              <a:ext uri="{FF2B5EF4-FFF2-40B4-BE49-F238E27FC236}">
                <a16:creationId xmlns:a16="http://schemas.microsoft.com/office/drawing/2014/main" id="{BCD1A710-4C2E-459A-8632-9EEE30648A8B}"/>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905254" y="4197971"/>
            <a:ext cx="794313" cy="69697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40" name="Picture 39">
            <a:extLst>
              <a:ext uri="{FF2B5EF4-FFF2-40B4-BE49-F238E27FC236}">
                <a16:creationId xmlns:a16="http://schemas.microsoft.com/office/drawing/2014/main" id="{5CA2C2B6-F632-4AC8-A3C5-2835ED46AB10}"/>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00938" y="6046790"/>
            <a:ext cx="1856232" cy="417384"/>
          </a:xfrm>
          <a:prstGeom prst="rect">
            <a:avLst/>
          </a:prstGeom>
          <a:noFill/>
          <a:ln>
            <a:noFill/>
          </a:ln>
        </p:spPr>
      </p:pic>
    </p:spTree>
    <p:extLst>
      <p:ext uri="{BB962C8B-B14F-4D97-AF65-F5344CB8AC3E}">
        <p14:creationId xmlns:p14="http://schemas.microsoft.com/office/powerpoint/2010/main" val="28506050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descr="A close up of a logo&#10;&#10;Description automatically generated">
            <a:extLst>
              <a:ext uri="{FF2B5EF4-FFF2-40B4-BE49-F238E27FC236}">
                <a16:creationId xmlns:a16="http://schemas.microsoft.com/office/drawing/2014/main" id="{278C3439-77CF-4B42-837A-B9E82E9148B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400938" y="5932445"/>
            <a:ext cx="9505058" cy="84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ounded Rectangle 46">
            <a:extLst>
              <a:ext uri="{FF2B5EF4-FFF2-40B4-BE49-F238E27FC236}">
                <a16:creationId xmlns:a16="http://schemas.microsoft.com/office/drawing/2014/main" id="{1CA1C51F-7A12-4C18-A7F2-C8EFFA27CF75}"/>
              </a:ext>
            </a:extLst>
          </p:cNvPr>
          <p:cNvSpPr/>
          <p:nvPr/>
        </p:nvSpPr>
        <p:spPr>
          <a:xfrm>
            <a:off x="7035359" y="920694"/>
            <a:ext cx="2736304" cy="5040559"/>
          </a:xfrm>
          <a:prstGeom prst="roundRect">
            <a:avLst/>
          </a:prstGeom>
          <a:gradFill flip="none" rotWithShape="1">
            <a:gsLst>
              <a:gs pos="0">
                <a:sysClr val="window" lastClr="FFFFFF"/>
              </a:gs>
              <a:gs pos="80000">
                <a:sysClr val="window" lastClr="FFFFFF">
                  <a:lumMod val="85000"/>
                </a:sysClr>
              </a:gs>
              <a:gs pos="100000">
                <a:sysClr val="window" lastClr="FFFFFF">
                  <a:lumMod val="65000"/>
                </a:sysClr>
              </a:gs>
            </a:gsLst>
            <a:lin ang="5400000" scaled="1"/>
            <a:tileRect/>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prstClr val="black"/>
              </a:solidFill>
              <a:effectLst/>
              <a:uLnTx/>
              <a:uFillTx/>
              <a:latin typeface="Calibri"/>
              <a:ea typeface="+mn-ea"/>
              <a:cs typeface="+mn-cs"/>
            </a:endParaRPr>
          </a:p>
        </p:txBody>
      </p:sp>
      <p:sp>
        <p:nvSpPr>
          <p:cNvPr id="11" name="Rounded Rectangle 46">
            <a:extLst>
              <a:ext uri="{FF2B5EF4-FFF2-40B4-BE49-F238E27FC236}">
                <a16:creationId xmlns:a16="http://schemas.microsoft.com/office/drawing/2014/main" id="{B8A111DF-5E83-4759-8BAD-3D74A923005A}"/>
              </a:ext>
            </a:extLst>
          </p:cNvPr>
          <p:cNvSpPr/>
          <p:nvPr/>
        </p:nvSpPr>
        <p:spPr>
          <a:xfrm>
            <a:off x="4112553" y="920694"/>
            <a:ext cx="2736304" cy="5040559"/>
          </a:xfrm>
          <a:prstGeom prst="roundRect">
            <a:avLst/>
          </a:prstGeom>
          <a:gradFill flip="none" rotWithShape="1">
            <a:gsLst>
              <a:gs pos="0">
                <a:sysClr val="window" lastClr="FFFFFF"/>
              </a:gs>
              <a:gs pos="80000">
                <a:sysClr val="window" lastClr="FFFFFF">
                  <a:lumMod val="85000"/>
                </a:sysClr>
              </a:gs>
              <a:gs pos="100000">
                <a:sysClr val="window" lastClr="FFFFFF">
                  <a:lumMod val="65000"/>
                </a:sysClr>
              </a:gs>
            </a:gsLst>
            <a:lin ang="5400000" scaled="1"/>
            <a:tileRect/>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prstClr val="black"/>
              </a:solidFill>
              <a:effectLst/>
              <a:uLnTx/>
              <a:uFillTx/>
              <a:latin typeface="Calibri"/>
              <a:ea typeface="+mn-ea"/>
              <a:cs typeface="+mn-cs"/>
            </a:endParaRPr>
          </a:p>
        </p:txBody>
      </p:sp>
      <p:sp>
        <p:nvSpPr>
          <p:cNvPr id="12" name="Rounded Rectangle 46">
            <a:extLst>
              <a:ext uri="{FF2B5EF4-FFF2-40B4-BE49-F238E27FC236}">
                <a16:creationId xmlns:a16="http://schemas.microsoft.com/office/drawing/2014/main" id="{DCE3C7C7-CE71-43CD-B368-7B7E1C9714A0}"/>
              </a:ext>
            </a:extLst>
          </p:cNvPr>
          <p:cNvSpPr/>
          <p:nvPr/>
        </p:nvSpPr>
        <p:spPr>
          <a:xfrm>
            <a:off x="1095140" y="920694"/>
            <a:ext cx="2736304" cy="5040559"/>
          </a:xfrm>
          <a:prstGeom prst="roundRect">
            <a:avLst/>
          </a:prstGeom>
          <a:gradFill flip="none" rotWithShape="1">
            <a:gsLst>
              <a:gs pos="0">
                <a:sysClr val="window" lastClr="FFFFFF"/>
              </a:gs>
              <a:gs pos="80000">
                <a:sysClr val="window" lastClr="FFFFFF">
                  <a:lumMod val="85000"/>
                </a:sysClr>
              </a:gs>
              <a:gs pos="100000">
                <a:sysClr val="window" lastClr="FFFFFF">
                  <a:lumMod val="65000"/>
                </a:sysClr>
              </a:gs>
            </a:gsLst>
            <a:lin ang="5400000" scaled="1"/>
            <a:tileRect/>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prstClr val="black"/>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FC3524F3-B79F-4FDE-B2A6-23BD613E881D}"/>
              </a:ext>
            </a:extLst>
          </p:cNvPr>
          <p:cNvSpPr txBox="1"/>
          <p:nvPr/>
        </p:nvSpPr>
        <p:spPr>
          <a:xfrm>
            <a:off x="1294981" y="979552"/>
            <a:ext cx="2336629" cy="338554"/>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600" b="1" i="0" u="sng" strike="noStrike" kern="0" cap="none" spc="0" normalizeH="0" baseline="0" noProof="0" dirty="0">
                <a:ln>
                  <a:noFill/>
                </a:ln>
                <a:solidFill>
                  <a:prstClr val="black"/>
                </a:solidFill>
                <a:effectLst/>
                <a:uLnTx/>
                <a:uFillTx/>
              </a:rPr>
              <a:t>1. Company profiling</a:t>
            </a:r>
          </a:p>
        </p:txBody>
      </p:sp>
      <p:sp>
        <p:nvSpPr>
          <p:cNvPr id="15" name="TextBox 14">
            <a:extLst>
              <a:ext uri="{FF2B5EF4-FFF2-40B4-BE49-F238E27FC236}">
                <a16:creationId xmlns:a16="http://schemas.microsoft.com/office/drawing/2014/main" id="{35C6C32D-EF95-4CD0-9B6C-F7725BCB7FE7}"/>
              </a:ext>
            </a:extLst>
          </p:cNvPr>
          <p:cNvSpPr txBox="1"/>
          <p:nvPr/>
        </p:nvSpPr>
        <p:spPr>
          <a:xfrm>
            <a:off x="7577235" y="979552"/>
            <a:ext cx="1796568" cy="338554"/>
          </a:xfrm>
          <a:prstGeom prst="rect">
            <a:avLst/>
          </a:prstGeom>
          <a:no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600" b="1" i="0" u="sng" strike="noStrike" kern="0" cap="none" spc="0" normalizeH="0" baseline="0" noProof="0" dirty="0">
                <a:ln>
                  <a:noFill/>
                </a:ln>
                <a:solidFill>
                  <a:prstClr val="black"/>
                </a:solidFill>
                <a:effectLst/>
                <a:uLnTx/>
                <a:uFillTx/>
              </a:rPr>
              <a:t>3. Derive measures</a:t>
            </a:r>
          </a:p>
        </p:txBody>
      </p:sp>
      <p:sp>
        <p:nvSpPr>
          <p:cNvPr id="16" name="TextBox 15">
            <a:extLst>
              <a:ext uri="{FF2B5EF4-FFF2-40B4-BE49-F238E27FC236}">
                <a16:creationId xmlns:a16="http://schemas.microsoft.com/office/drawing/2014/main" id="{21CC027B-453A-4B93-B270-6A8A9170F5D4}"/>
              </a:ext>
            </a:extLst>
          </p:cNvPr>
          <p:cNvSpPr txBox="1"/>
          <p:nvPr/>
        </p:nvSpPr>
        <p:spPr>
          <a:xfrm>
            <a:off x="4446609" y="979552"/>
            <a:ext cx="2068195" cy="338554"/>
          </a:xfrm>
          <a:prstGeom prst="rect">
            <a:avLst/>
          </a:prstGeom>
          <a:noFill/>
          <a:ln>
            <a:noFill/>
          </a:ln>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600" b="1" i="0" u="sng" strike="noStrike" kern="0" cap="none" spc="0" normalizeH="0" baseline="0" noProof="0" dirty="0">
                <a:ln>
                  <a:noFill/>
                </a:ln>
                <a:solidFill>
                  <a:prstClr val="black"/>
                </a:solidFill>
                <a:effectLst/>
                <a:uLnTx/>
                <a:uFillTx/>
              </a:rPr>
              <a:t>2. Analyse capabilities</a:t>
            </a:r>
          </a:p>
        </p:txBody>
      </p:sp>
      <p:sp>
        <p:nvSpPr>
          <p:cNvPr id="17" name="Isosceles Triangle 16">
            <a:extLst>
              <a:ext uri="{FF2B5EF4-FFF2-40B4-BE49-F238E27FC236}">
                <a16:creationId xmlns:a16="http://schemas.microsoft.com/office/drawing/2014/main" id="{E3517DD6-C5F4-4192-BC56-12EB505F974E}"/>
              </a:ext>
            </a:extLst>
          </p:cNvPr>
          <p:cNvSpPr/>
          <p:nvPr/>
        </p:nvSpPr>
        <p:spPr>
          <a:xfrm rot="10800000">
            <a:off x="1311162" y="4233066"/>
            <a:ext cx="2304256" cy="288033"/>
          </a:xfrm>
          <a:prstGeom prst="triangle">
            <a:avLst/>
          </a:prstGeom>
          <a:gradFill rotWithShape="1">
            <a:gsLst>
              <a:gs pos="0">
                <a:srgbClr val="BFBFBF">
                  <a:shade val="51000"/>
                  <a:satMod val="130000"/>
                </a:srgbClr>
              </a:gs>
              <a:gs pos="80000">
                <a:srgbClr val="BFBFBF">
                  <a:shade val="93000"/>
                  <a:satMod val="130000"/>
                </a:srgbClr>
              </a:gs>
              <a:gs pos="100000">
                <a:srgbClr val="BFBFBF">
                  <a:shade val="94000"/>
                  <a:satMod val="135000"/>
                </a:srgbClr>
              </a:gs>
            </a:gsLst>
            <a:lin ang="16200000" scaled="0"/>
          </a:gradFill>
          <a:ln w="9525" cap="flat" cmpd="sng" algn="ctr">
            <a:solidFill>
              <a:srgbClr val="BFBFBF">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prstClr val="white"/>
              </a:solidFill>
              <a:effectLst/>
              <a:uLnTx/>
              <a:uFillTx/>
            </a:endParaRPr>
          </a:p>
        </p:txBody>
      </p:sp>
      <p:sp>
        <p:nvSpPr>
          <p:cNvPr id="18" name="Isosceles Triangle 17">
            <a:extLst>
              <a:ext uri="{FF2B5EF4-FFF2-40B4-BE49-F238E27FC236}">
                <a16:creationId xmlns:a16="http://schemas.microsoft.com/office/drawing/2014/main" id="{7C819C26-87FE-49E6-AABD-F6DC89DFC962}"/>
              </a:ext>
            </a:extLst>
          </p:cNvPr>
          <p:cNvSpPr/>
          <p:nvPr/>
        </p:nvSpPr>
        <p:spPr>
          <a:xfrm rot="10800000">
            <a:off x="4299495" y="4233065"/>
            <a:ext cx="2304256" cy="288033"/>
          </a:xfrm>
          <a:prstGeom prst="triangle">
            <a:avLst/>
          </a:prstGeom>
          <a:gradFill rotWithShape="1">
            <a:gsLst>
              <a:gs pos="0">
                <a:srgbClr val="BFBFBF">
                  <a:shade val="51000"/>
                  <a:satMod val="130000"/>
                </a:srgbClr>
              </a:gs>
              <a:gs pos="80000">
                <a:srgbClr val="BFBFBF">
                  <a:shade val="93000"/>
                  <a:satMod val="130000"/>
                </a:srgbClr>
              </a:gs>
              <a:gs pos="100000">
                <a:srgbClr val="BFBFBF">
                  <a:shade val="94000"/>
                  <a:satMod val="135000"/>
                </a:srgbClr>
              </a:gs>
            </a:gsLst>
            <a:lin ang="16200000" scaled="0"/>
          </a:gradFill>
          <a:ln w="9525" cap="flat" cmpd="sng" algn="ctr">
            <a:solidFill>
              <a:srgbClr val="BFBFBF">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prstClr val="white"/>
              </a:solidFill>
              <a:effectLst/>
              <a:uLnTx/>
              <a:uFillTx/>
            </a:endParaRPr>
          </a:p>
        </p:txBody>
      </p:sp>
      <p:sp>
        <p:nvSpPr>
          <p:cNvPr id="20" name="Isosceles Triangle 19">
            <a:extLst>
              <a:ext uri="{FF2B5EF4-FFF2-40B4-BE49-F238E27FC236}">
                <a16:creationId xmlns:a16="http://schemas.microsoft.com/office/drawing/2014/main" id="{80932132-5F5F-4871-AF6F-5AC5C8E5BAD4}"/>
              </a:ext>
            </a:extLst>
          </p:cNvPr>
          <p:cNvSpPr/>
          <p:nvPr/>
        </p:nvSpPr>
        <p:spPr>
          <a:xfrm rot="10800000">
            <a:off x="7323387" y="4233065"/>
            <a:ext cx="2304256" cy="288033"/>
          </a:xfrm>
          <a:prstGeom prst="triangle">
            <a:avLst/>
          </a:prstGeom>
          <a:gradFill rotWithShape="1">
            <a:gsLst>
              <a:gs pos="0">
                <a:srgbClr val="BFBFBF">
                  <a:shade val="51000"/>
                  <a:satMod val="130000"/>
                </a:srgbClr>
              </a:gs>
              <a:gs pos="80000">
                <a:srgbClr val="BFBFBF">
                  <a:shade val="93000"/>
                  <a:satMod val="130000"/>
                </a:srgbClr>
              </a:gs>
              <a:gs pos="100000">
                <a:srgbClr val="BFBFBF">
                  <a:shade val="94000"/>
                  <a:satMod val="135000"/>
                </a:srgbClr>
              </a:gs>
            </a:gsLst>
            <a:lin ang="16200000" scaled="0"/>
          </a:gradFill>
          <a:ln w="9525" cap="flat" cmpd="sng" algn="ctr">
            <a:solidFill>
              <a:srgbClr val="BFBFBF">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prstClr val="white"/>
              </a:solidFill>
              <a:effectLst/>
              <a:uLnTx/>
              <a:uFillTx/>
            </a:endParaRPr>
          </a:p>
        </p:txBody>
      </p:sp>
      <p:sp>
        <p:nvSpPr>
          <p:cNvPr id="21" name="Rectangle 20">
            <a:extLst>
              <a:ext uri="{FF2B5EF4-FFF2-40B4-BE49-F238E27FC236}">
                <a16:creationId xmlns:a16="http://schemas.microsoft.com/office/drawing/2014/main" id="{F11E66C1-A435-4312-9BDC-C556A874FED1}"/>
              </a:ext>
            </a:extLst>
          </p:cNvPr>
          <p:cNvSpPr/>
          <p:nvPr/>
        </p:nvSpPr>
        <p:spPr>
          <a:xfrm>
            <a:off x="1303306" y="4691400"/>
            <a:ext cx="2304257" cy="1053832"/>
          </a:xfrm>
          <a:prstGeom prst="rect">
            <a:avLst/>
          </a:prstGeom>
          <a:solidFill>
            <a:schemeClr val="accent5">
              <a:lumMod val="7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a:ln>
                  <a:noFill/>
                </a:ln>
                <a:solidFill>
                  <a:prstClr val="white"/>
                </a:solidFill>
                <a:effectLst/>
                <a:uLnTx/>
                <a:uFillTx/>
              </a:rPr>
              <a:t>Result</a:t>
            </a:r>
            <a:r>
              <a:rPr kumimoji="0" lang="en-ZA" sz="1400" b="0" i="0" u="none" strike="noStrike" kern="0" cap="none" spc="0" normalizeH="0" baseline="0" noProof="0" dirty="0">
                <a:ln>
                  <a:noFill/>
                </a:ln>
                <a:solidFill>
                  <a:prstClr val="white"/>
                </a:solidFill>
                <a:effectLst/>
                <a:uLnTx/>
                <a:uFillTx/>
              </a:rPr>
              <a:t>: A comprehensive overview of the companies products, processes, resources and customers.</a:t>
            </a:r>
          </a:p>
        </p:txBody>
      </p:sp>
      <p:sp>
        <p:nvSpPr>
          <p:cNvPr id="22" name="Rectangle 21">
            <a:extLst>
              <a:ext uri="{FF2B5EF4-FFF2-40B4-BE49-F238E27FC236}">
                <a16:creationId xmlns:a16="http://schemas.microsoft.com/office/drawing/2014/main" id="{AB574429-1D61-4766-AE34-360A6BE92802}"/>
              </a:ext>
            </a:extLst>
          </p:cNvPr>
          <p:cNvSpPr/>
          <p:nvPr/>
        </p:nvSpPr>
        <p:spPr>
          <a:xfrm>
            <a:off x="4328577" y="4691400"/>
            <a:ext cx="2304257" cy="1053833"/>
          </a:xfrm>
          <a:prstGeom prst="rect">
            <a:avLst/>
          </a:prstGeom>
          <a:solidFill>
            <a:schemeClr val="accent5">
              <a:lumMod val="7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a:ln>
                  <a:noFill/>
                </a:ln>
                <a:solidFill>
                  <a:prstClr val="white"/>
                </a:solidFill>
                <a:effectLst/>
                <a:uLnTx/>
                <a:uFillTx/>
              </a:rPr>
              <a:t>Result</a:t>
            </a:r>
            <a:r>
              <a:rPr kumimoji="0" lang="en-ZA" sz="1400" b="0" i="0" u="none" strike="noStrike" kern="0" cap="none" spc="0" normalizeH="0" baseline="0" noProof="0" dirty="0">
                <a:ln>
                  <a:noFill/>
                </a:ln>
                <a:solidFill>
                  <a:prstClr val="white"/>
                </a:solidFill>
                <a:effectLst/>
                <a:uLnTx/>
                <a:uFillTx/>
              </a:rPr>
              <a:t>: A detailed  understanding of the strengths and potentials of the company.</a:t>
            </a:r>
          </a:p>
        </p:txBody>
      </p:sp>
      <p:sp>
        <p:nvSpPr>
          <p:cNvPr id="23" name="Rectangle 22">
            <a:extLst>
              <a:ext uri="{FF2B5EF4-FFF2-40B4-BE49-F238E27FC236}">
                <a16:creationId xmlns:a16="http://schemas.microsoft.com/office/drawing/2014/main" id="{4A7E374F-893A-4EB0-A9B9-AFD2AE4293C3}"/>
              </a:ext>
            </a:extLst>
          </p:cNvPr>
          <p:cNvSpPr/>
          <p:nvPr/>
        </p:nvSpPr>
        <p:spPr>
          <a:xfrm>
            <a:off x="7251383" y="4691401"/>
            <a:ext cx="2304257" cy="1053833"/>
          </a:xfrm>
          <a:prstGeom prst="rect">
            <a:avLst/>
          </a:prstGeom>
          <a:solidFill>
            <a:schemeClr val="accent5">
              <a:lumMod val="75000"/>
            </a:scheme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a:ln>
                  <a:noFill/>
                </a:ln>
                <a:solidFill>
                  <a:prstClr val="white"/>
                </a:solidFill>
                <a:effectLst/>
                <a:uLnTx/>
                <a:uFillTx/>
              </a:rPr>
              <a:t>Result</a:t>
            </a:r>
            <a:r>
              <a:rPr kumimoji="0" lang="en-ZA" sz="1400" b="0" i="0" u="none" strike="noStrike" kern="0" cap="none" spc="0" normalizeH="0" baseline="0" noProof="0" dirty="0">
                <a:ln>
                  <a:noFill/>
                </a:ln>
                <a:solidFill>
                  <a:prstClr val="white"/>
                </a:solidFill>
                <a:effectLst/>
                <a:uLnTx/>
                <a:uFillTx/>
              </a:rPr>
              <a:t>: Documented  and mutually agreed measures for the company to execute  in the required timeframe.</a:t>
            </a:r>
          </a:p>
        </p:txBody>
      </p:sp>
      <p:sp>
        <p:nvSpPr>
          <p:cNvPr id="24" name="Rectangle 23">
            <a:extLst>
              <a:ext uri="{FF2B5EF4-FFF2-40B4-BE49-F238E27FC236}">
                <a16:creationId xmlns:a16="http://schemas.microsoft.com/office/drawing/2014/main" id="{52B10C86-4F3D-4D8E-8872-5BF7D51AED71}"/>
              </a:ext>
            </a:extLst>
          </p:cNvPr>
          <p:cNvSpPr/>
          <p:nvPr/>
        </p:nvSpPr>
        <p:spPr>
          <a:xfrm>
            <a:off x="1311167" y="1352735"/>
            <a:ext cx="2304257" cy="936104"/>
          </a:xfrm>
          <a:prstGeom prst="rect">
            <a:avLst/>
          </a:prstGeom>
          <a:solidFill>
            <a:sysClr val="window" lastClr="FFFFFF"/>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a:ln>
                  <a:noFill/>
                </a:ln>
                <a:solidFill>
                  <a:prstClr val="black"/>
                </a:solidFill>
                <a:effectLst/>
                <a:uLnTx/>
                <a:uFillTx/>
              </a:rPr>
              <a:t>Process</a:t>
            </a:r>
            <a:r>
              <a:rPr kumimoji="0" lang="en-ZA" sz="1400" b="0" i="0" u="none" strike="noStrike" kern="0" cap="none" spc="0" normalizeH="0" baseline="0" noProof="0" dirty="0">
                <a:ln>
                  <a:noFill/>
                </a:ln>
                <a:solidFill>
                  <a:prstClr val="black"/>
                </a:solidFill>
                <a:effectLst/>
                <a:uLnTx/>
                <a:uFillTx/>
              </a:rPr>
              <a:t>: Pre-defined analysis tools based on the macro and micro company environment will be used. </a:t>
            </a:r>
          </a:p>
        </p:txBody>
      </p:sp>
      <p:sp>
        <p:nvSpPr>
          <p:cNvPr id="25" name="Rectangle 24">
            <a:extLst>
              <a:ext uri="{FF2B5EF4-FFF2-40B4-BE49-F238E27FC236}">
                <a16:creationId xmlns:a16="http://schemas.microsoft.com/office/drawing/2014/main" id="{A635BEE0-75D9-4695-B157-C71FD7C5836F}"/>
              </a:ext>
            </a:extLst>
          </p:cNvPr>
          <p:cNvSpPr/>
          <p:nvPr/>
        </p:nvSpPr>
        <p:spPr>
          <a:xfrm>
            <a:off x="4299499" y="1352735"/>
            <a:ext cx="2304257" cy="1368152"/>
          </a:xfrm>
          <a:prstGeom prst="rect">
            <a:avLst/>
          </a:prstGeom>
          <a:solidFill>
            <a:sysClr val="window" lastClr="FFFFFF"/>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a:ln>
                  <a:noFill/>
                </a:ln>
                <a:solidFill>
                  <a:prstClr val="black"/>
                </a:solidFill>
                <a:effectLst/>
                <a:uLnTx/>
                <a:uFillTx/>
              </a:rPr>
              <a:t>Process</a:t>
            </a:r>
            <a:r>
              <a:rPr kumimoji="0" lang="en-ZA" sz="1400" b="0" i="0" u="none" strike="noStrike" kern="0" cap="none" spc="0" normalizeH="0" baseline="0" noProof="0" dirty="0">
                <a:ln>
                  <a:noFill/>
                </a:ln>
                <a:solidFill>
                  <a:prstClr val="black"/>
                </a:solidFill>
                <a:effectLst/>
                <a:uLnTx/>
                <a:uFillTx/>
              </a:rPr>
              <a:t>: Tools directed to the specific company structures will be  executed  with a specific aim to uncover company strengths and potentials.</a:t>
            </a:r>
          </a:p>
        </p:txBody>
      </p:sp>
      <p:sp>
        <p:nvSpPr>
          <p:cNvPr id="26" name="Rectangle 25">
            <a:extLst>
              <a:ext uri="{FF2B5EF4-FFF2-40B4-BE49-F238E27FC236}">
                <a16:creationId xmlns:a16="http://schemas.microsoft.com/office/drawing/2014/main" id="{036B3A5E-D466-4E4B-85CD-35A0643D35CA}"/>
              </a:ext>
            </a:extLst>
          </p:cNvPr>
          <p:cNvSpPr/>
          <p:nvPr/>
        </p:nvSpPr>
        <p:spPr>
          <a:xfrm>
            <a:off x="7323391" y="1352735"/>
            <a:ext cx="2304257" cy="1224136"/>
          </a:xfrm>
          <a:prstGeom prst="rect">
            <a:avLst/>
          </a:prstGeom>
          <a:solidFill>
            <a:sysClr val="window" lastClr="FFFFFF"/>
          </a:solidFill>
          <a:ln w="25400" cap="flat" cmpd="sng" algn="ctr">
            <a:noFill/>
            <a:prstDash val="solid"/>
          </a:ln>
          <a:effectLst/>
        </p:spPr>
        <p:txBody>
          <a:bodyPr rtlCol="0" anchor="t"/>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400" b="1" i="0" u="none" strike="noStrike" kern="0" cap="none" spc="0" normalizeH="0" baseline="0" noProof="0" dirty="0">
                <a:ln>
                  <a:noFill/>
                </a:ln>
                <a:solidFill>
                  <a:prstClr val="black"/>
                </a:solidFill>
                <a:effectLst/>
                <a:uLnTx/>
                <a:uFillTx/>
              </a:rPr>
              <a:t>Process</a:t>
            </a:r>
            <a:r>
              <a:rPr kumimoji="0" lang="en-ZA" sz="1400" b="0" i="0" u="none" strike="noStrike" kern="0" cap="none" spc="0" normalizeH="0" baseline="0" noProof="0" dirty="0">
                <a:ln>
                  <a:noFill/>
                </a:ln>
                <a:solidFill>
                  <a:prstClr val="black"/>
                </a:solidFill>
                <a:effectLst/>
                <a:uLnTx/>
                <a:uFillTx/>
              </a:rPr>
              <a:t>: Measures will be derived from a workshop  and detailed into short, medium and long term measures.</a:t>
            </a:r>
          </a:p>
        </p:txBody>
      </p:sp>
      <p:grpSp>
        <p:nvGrpSpPr>
          <p:cNvPr id="27" name="Group 26">
            <a:extLst>
              <a:ext uri="{FF2B5EF4-FFF2-40B4-BE49-F238E27FC236}">
                <a16:creationId xmlns:a16="http://schemas.microsoft.com/office/drawing/2014/main" id="{968C34A9-46E7-4D3A-A458-0E9C885C68A9}"/>
              </a:ext>
            </a:extLst>
          </p:cNvPr>
          <p:cNvGrpSpPr/>
          <p:nvPr/>
        </p:nvGrpSpPr>
        <p:grpSpPr>
          <a:xfrm>
            <a:off x="4571071" y="2983137"/>
            <a:ext cx="1761104" cy="1080118"/>
            <a:chOff x="3674992" y="2996952"/>
            <a:chExt cx="1761104" cy="1080118"/>
          </a:xfrm>
        </p:grpSpPr>
        <p:graphicFrame>
          <p:nvGraphicFramePr>
            <p:cNvPr id="34" name="Diagram 33">
              <a:extLst>
                <a:ext uri="{FF2B5EF4-FFF2-40B4-BE49-F238E27FC236}">
                  <a16:creationId xmlns:a16="http://schemas.microsoft.com/office/drawing/2014/main" id="{75BDBC6F-A3A5-4145-9583-378FC66FA5FB}"/>
                </a:ext>
              </a:extLst>
            </p:cNvPr>
            <p:cNvGraphicFramePr/>
            <p:nvPr/>
          </p:nvGraphicFramePr>
          <p:xfrm>
            <a:off x="3745452" y="3051266"/>
            <a:ext cx="1617088" cy="97149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5" name="Rounded Rectangle 27">
              <a:extLst>
                <a:ext uri="{FF2B5EF4-FFF2-40B4-BE49-F238E27FC236}">
                  <a16:creationId xmlns:a16="http://schemas.microsoft.com/office/drawing/2014/main" id="{789BDF03-8E1A-4FE4-A039-C88B97A8AF13}"/>
                </a:ext>
              </a:extLst>
            </p:cNvPr>
            <p:cNvSpPr/>
            <p:nvPr/>
          </p:nvSpPr>
          <p:spPr>
            <a:xfrm>
              <a:off x="3674992" y="2996952"/>
              <a:ext cx="1761104" cy="1080118"/>
            </a:xfrm>
            <a:prstGeom prst="roundRect">
              <a:avLst/>
            </a:prstGeom>
            <a:noFill/>
            <a:ln w="2540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prstClr val="white"/>
                </a:solidFill>
                <a:effectLst/>
                <a:uLnTx/>
                <a:uFillTx/>
              </a:endParaRPr>
            </a:p>
          </p:txBody>
        </p:sp>
      </p:grpSp>
      <p:grpSp>
        <p:nvGrpSpPr>
          <p:cNvPr id="28" name="Group 27">
            <a:extLst>
              <a:ext uri="{FF2B5EF4-FFF2-40B4-BE49-F238E27FC236}">
                <a16:creationId xmlns:a16="http://schemas.microsoft.com/office/drawing/2014/main" id="{BA8079FF-63FC-4859-AE1C-8B47D21DC03F}"/>
              </a:ext>
            </a:extLst>
          </p:cNvPr>
          <p:cNvGrpSpPr/>
          <p:nvPr/>
        </p:nvGrpSpPr>
        <p:grpSpPr>
          <a:xfrm>
            <a:off x="1582738" y="2983137"/>
            <a:ext cx="1761104" cy="1080118"/>
            <a:chOff x="5694541" y="2806636"/>
            <a:chExt cx="1761104" cy="1080118"/>
          </a:xfrm>
        </p:grpSpPr>
        <p:pic>
          <p:nvPicPr>
            <p:cNvPr id="32" name="Picture 9" descr="https://encrypted-tbn2.gstatic.com/images?q=tbn:ANd9GcSl9CKo9oc--UM21O7uLiAOIZmGiW-yoXNs6xFDI1preIXdA5-4gA">
              <a:extLst>
                <a:ext uri="{FF2B5EF4-FFF2-40B4-BE49-F238E27FC236}">
                  <a16:creationId xmlns:a16="http://schemas.microsoft.com/office/drawing/2014/main" id="{718F0BCF-DA62-4398-A556-D2EE71BD1915}"/>
                </a:ext>
              </a:extLst>
            </p:cNvPr>
            <p:cNvPicPr>
              <a:picLocks noChangeAspect="1" noChangeArrowheads="1"/>
            </p:cNvPicPr>
            <p:nvPr/>
          </p:nvPicPr>
          <p:blipFill rotWithShape="1">
            <a:blip r:embed="rId8">
              <a:duotone>
                <a:schemeClr val="accent1">
                  <a:shade val="45000"/>
                  <a:satMod val="135000"/>
                </a:schemeClr>
                <a:prstClr val="white"/>
              </a:duotone>
              <a:extLst>
                <a:ext uri="{28A0092B-C50C-407E-A947-70E740481C1C}">
                  <a14:useLocalDpi xmlns:a14="http://schemas.microsoft.com/office/drawing/2010/main" val="0"/>
                </a:ext>
              </a:extLst>
            </a:blip>
            <a:srcRect b="13372"/>
            <a:stretch/>
          </p:blipFill>
          <p:spPr bwMode="auto">
            <a:xfrm flipH="1">
              <a:off x="5871651" y="2820339"/>
              <a:ext cx="1406884" cy="1066415"/>
            </a:xfrm>
            <a:prstGeom prst="rect">
              <a:avLst/>
            </a:prstGeom>
            <a:noFill/>
            <a:extLst>
              <a:ext uri="{909E8E84-426E-40DD-AFC4-6F175D3DCCD1}">
                <a14:hiddenFill xmlns:a14="http://schemas.microsoft.com/office/drawing/2010/main">
                  <a:solidFill>
                    <a:srgbClr val="FFFFFF"/>
                  </a:solidFill>
                </a14:hiddenFill>
              </a:ext>
            </a:extLst>
          </p:spPr>
        </p:pic>
        <p:sp>
          <p:nvSpPr>
            <p:cNvPr id="33" name="Rounded Rectangle 25">
              <a:extLst>
                <a:ext uri="{FF2B5EF4-FFF2-40B4-BE49-F238E27FC236}">
                  <a16:creationId xmlns:a16="http://schemas.microsoft.com/office/drawing/2014/main" id="{65D31E82-3B2C-4A78-9F58-53442CB9D1E2}"/>
                </a:ext>
              </a:extLst>
            </p:cNvPr>
            <p:cNvSpPr/>
            <p:nvPr/>
          </p:nvSpPr>
          <p:spPr>
            <a:xfrm>
              <a:off x="5694541" y="2806636"/>
              <a:ext cx="1761104" cy="1080118"/>
            </a:xfrm>
            <a:prstGeom prst="roundRect">
              <a:avLst/>
            </a:prstGeom>
            <a:noFill/>
            <a:ln w="2540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prstClr val="white"/>
                </a:solidFill>
                <a:effectLst/>
                <a:uLnTx/>
                <a:uFillTx/>
              </a:endParaRPr>
            </a:p>
          </p:txBody>
        </p:sp>
      </p:grpSp>
      <p:grpSp>
        <p:nvGrpSpPr>
          <p:cNvPr id="29" name="Group 28">
            <a:extLst>
              <a:ext uri="{FF2B5EF4-FFF2-40B4-BE49-F238E27FC236}">
                <a16:creationId xmlns:a16="http://schemas.microsoft.com/office/drawing/2014/main" id="{B2699545-1250-4300-8573-14B8C6E3BD37}"/>
              </a:ext>
            </a:extLst>
          </p:cNvPr>
          <p:cNvGrpSpPr/>
          <p:nvPr/>
        </p:nvGrpSpPr>
        <p:grpSpPr>
          <a:xfrm>
            <a:off x="7594963" y="2983137"/>
            <a:ext cx="1761104" cy="1080118"/>
            <a:chOff x="6471100" y="2888941"/>
            <a:chExt cx="1761104" cy="1080118"/>
          </a:xfrm>
        </p:grpSpPr>
        <p:pic>
          <p:nvPicPr>
            <p:cNvPr id="30" name="Picture 11">
              <a:extLst>
                <a:ext uri="{FF2B5EF4-FFF2-40B4-BE49-F238E27FC236}">
                  <a16:creationId xmlns:a16="http://schemas.microsoft.com/office/drawing/2014/main" id="{E42ABC86-9308-470C-B5AA-B741BE47B59A}"/>
                </a:ext>
              </a:extLst>
            </p:cNvPr>
            <p:cNvPicPr>
              <a:picLocks noChangeAspect="1" noChangeArrowheads="1"/>
            </p:cNvPicPr>
            <p:nvPr/>
          </p:nvPicPr>
          <p:blipFill>
            <a:blip r:embed="rId9"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516216" y="2924944"/>
              <a:ext cx="1672728" cy="10048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Rounded Rectangle 23">
              <a:extLst>
                <a:ext uri="{FF2B5EF4-FFF2-40B4-BE49-F238E27FC236}">
                  <a16:creationId xmlns:a16="http://schemas.microsoft.com/office/drawing/2014/main" id="{A6FA27BF-DA95-40E3-BB79-A71B06D60F92}"/>
                </a:ext>
              </a:extLst>
            </p:cNvPr>
            <p:cNvSpPr/>
            <p:nvPr/>
          </p:nvSpPr>
          <p:spPr>
            <a:xfrm>
              <a:off x="6471100" y="2888941"/>
              <a:ext cx="1761104" cy="1080118"/>
            </a:xfrm>
            <a:prstGeom prst="roundRect">
              <a:avLst/>
            </a:prstGeom>
            <a:noFill/>
            <a:ln w="2540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a:ln>
                  <a:noFill/>
                </a:ln>
                <a:solidFill>
                  <a:prstClr val="white"/>
                </a:solidFill>
                <a:effectLst/>
                <a:uLnTx/>
                <a:uFillTx/>
              </a:endParaRPr>
            </a:p>
          </p:txBody>
        </p:sp>
      </p:grpSp>
      <p:sp>
        <p:nvSpPr>
          <p:cNvPr id="36" name="Rectangle 35">
            <a:extLst>
              <a:ext uri="{FF2B5EF4-FFF2-40B4-BE49-F238E27FC236}">
                <a16:creationId xmlns:a16="http://schemas.microsoft.com/office/drawing/2014/main" id="{2AEF8BC7-6436-4426-A163-E9B69292B59D}"/>
              </a:ext>
            </a:extLst>
          </p:cNvPr>
          <p:cNvSpPr/>
          <p:nvPr/>
        </p:nvSpPr>
        <p:spPr>
          <a:xfrm>
            <a:off x="312235" y="510296"/>
            <a:ext cx="9593766" cy="498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8" name="Title 1">
            <a:extLst>
              <a:ext uri="{FF2B5EF4-FFF2-40B4-BE49-F238E27FC236}">
                <a16:creationId xmlns:a16="http://schemas.microsoft.com/office/drawing/2014/main" id="{D0DD3895-FD3E-4DB2-A467-9DAC0A09B7D0}"/>
              </a:ext>
            </a:extLst>
          </p:cNvPr>
          <p:cNvSpPr txBox="1">
            <a:spLocks/>
          </p:cNvSpPr>
          <p:nvPr/>
        </p:nvSpPr>
        <p:spPr bwMode="auto">
          <a:xfrm>
            <a:off x="199294" y="-78415"/>
            <a:ext cx="8739188" cy="663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8" tIns="45709" rIns="91418" bIns="45709"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defRPr/>
            </a:pPr>
            <a:r>
              <a:rPr lang="en-GB" sz="2800" b="1" dirty="0">
                <a:solidFill>
                  <a:srgbClr val="0070C0"/>
                </a:solidFill>
                <a:latin typeface="Century Gothic" panose="020B0502020202020204" pitchFamily="34" charset="0"/>
                <a:cs typeface="Arial" panose="020B0604020202020204" pitchFamily="34" charset="0"/>
              </a:rPr>
              <a:t>Intervention Project</a:t>
            </a:r>
            <a:endParaRPr lang="en-GB" sz="3000" b="1" dirty="0">
              <a:solidFill>
                <a:srgbClr val="0070C0"/>
              </a:solidFill>
              <a:latin typeface="Century Gothic" panose="020B0502020202020204" pitchFamily="34" charset="0"/>
              <a:cs typeface="Arial" panose="020B0604020202020204" pitchFamily="34" charset="0"/>
            </a:endParaRPr>
          </a:p>
        </p:txBody>
      </p:sp>
      <p:pic>
        <p:nvPicPr>
          <p:cNvPr id="37" name="Picture 36">
            <a:extLst>
              <a:ext uri="{FF2B5EF4-FFF2-40B4-BE49-F238E27FC236}">
                <a16:creationId xmlns:a16="http://schemas.microsoft.com/office/drawing/2014/main" id="{9ABBABF4-5FA2-4834-B706-01AC95A6622B}"/>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00938" y="6046790"/>
            <a:ext cx="1856232" cy="417384"/>
          </a:xfrm>
          <a:prstGeom prst="rect">
            <a:avLst/>
          </a:prstGeom>
          <a:noFill/>
          <a:ln>
            <a:noFill/>
          </a:ln>
        </p:spPr>
      </p:pic>
      <p:sp>
        <p:nvSpPr>
          <p:cNvPr id="39" name="TextBox 38">
            <a:extLst>
              <a:ext uri="{FF2B5EF4-FFF2-40B4-BE49-F238E27FC236}">
                <a16:creationId xmlns:a16="http://schemas.microsoft.com/office/drawing/2014/main" id="{A7D5047B-765D-4B9F-844B-731D85882852}"/>
              </a:ext>
            </a:extLst>
          </p:cNvPr>
          <p:cNvSpPr txBox="1"/>
          <p:nvPr/>
        </p:nvSpPr>
        <p:spPr>
          <a:xfrm>
            <a:off x="225417" y="585429"/>
            <a:ext cx="4976948" cy="369332"/>
          </a:xfrm>
          <a:prstGeom prst="rect">
            <a:avLst/>
          </a:prstGeom>
          <a:noFill/>
        </p:spPr>
        <p:txBody>
          <a:bodyPr wrap="square">
            <a:spAutoFit/>
          </a:bodyPr>
          <a:lstStyle/>
          <a:p>
            <a:r>
              <a:rPr lang="en-GB" sz="1800" b="1" i="1" dirty="0">
                <a:solidFill>
                  <a:srgbClr val="0070C0"/>
                </a:solidFill>
                <a:latin typeface="Century Gothic" panose="020B0502020202020204" pitchFamily="34" charset="0"/>
                <a:cs typeface="Arial" panose="020B0604020202020204" pitchFamily="34" charset="0"/>
              </a:rPr>
              <a:t>Implementation Process</a:t>
            </a:r>
            <a:endParaRPr lang="en-ZA" i="1" dirty="0"/>
          </a:p>
        </p:txBody>
      </p:sp>
    </p:spTree>
    <p:extLst>
      <p:ext uri="{BB962C8B-B14F-4D97-AF65-F5344CB8AC3E}">
        <p14:creationId xmlns:p14="http://schemas.microsoft.com/office/powerpoint/2010/main" val="33398195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4170EB5-FE1E-4C25-871C-64EF212BC948}"/>
              </a:ext>
            </a:extLst>
          </p:cNvPr>
          <p:cNvSpPr/>
          <p:nvPr/>
        </p:nvSpPr>
        <p:spPr>
          <a:xfrm>
            <a:off x="312235" y="922358"/>
            <a:ext cx="9593766" cy="4985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7" name="Picture 3" descr="A close up of a logo&#10;&#10;Description automatically generated">
            <a:extLst>
              <a:ext uri="{FF2B5EF4-FFF2-40B4-BE49-F238E27FC236}">
                <a16:creationId xmlns:a16="http://schemas.microsoft.com/office/drawing/2014/main" id="{278C3439-77CF-4B42-837A-B9E82E9148B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H="1">
            <a:off x="400938" y="5932445"/>
            <a:ext cx="9505058" cy="847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itle 1">
            <a:extLst>
              <a:ext uri="{FF2B5EF4-FFF2-40B4-BE49-F238E27FC236}">
                <a16:creationId xmlns:a16="http://schemas.microsoft.com/office/drawing/2014/main" id="{18584E63-D4BF-4C63-BEAB-BB26B4CAD7D7}"/>
              </a:ext>
            </a:extLst>
          </p:cNvPr>
          <p:cNvSpPr txBox="1">
            <a:spLocks/>
          </p:cNvSpPr>
          <p:nvPr/>
        </p:nvSpPr>
        <p:spPr bwMode="auto">
          <a:xfrm>
            <a:off x="200472" y="80305"/>
            <a:ext cx="8424239" cy="872896"/>
          </a:xfrm>
          <a:prstGeom prst="rect">
            <a:avLst/>
          </a:prstGeom>
        </p:spPr>
        <p:txBody>
          <a:bodyPr vert="horz" lIns="91440" tIns="45720" rIns="91440" bIns="45720" rtlCol="0" anchor="ctr">
            <a:noAutofit/>
          </a:bodyPr>
          <a:lstStyle>
            <a:defPPr>
              <a:defRPr lang="en-US"/>
            </a:defPPr>
            <a:lvl1pPr>
              <a:lnSpc>
                <a:spcPct val="90000"/>
              </a:lnSpc>
              <a:spcBef>
                <a:spcPct val="0"/>
              </a:spcBef>
              <a:defRPr sz="2400" b="1">
                <a:solidFill>
                  <a:schemeClr val="accent6">
                    <a:lumMod val="50000"/>
                  </a:schemeClr>
                </a:solidFill>
                <a:latin typeface="Arial" panose="020B0604020202020204" pitchFamily="34" charset="0"/>
                <a:ea typeface="+mj-ea"/>
                <a:cs typeface="Arial" panose="020B0604020202020204" pitchFamily="34" charset="0"/>
              </a:defRPr>
            </a:lvl1pPr>
          </a:lstStyle>
          <a:p>
            <a:endParaRPr lang="en-GB" dirty="0">
              <a:solidFill>
                <a:schemeClr val="tx1"/>
              </a:solidFill>
            </a:endParaRPr>
          </a:p>
        </p:txBody>
      </p:sp>
      <p:sp>
        <p:nvSpPr>
          <p:cNvPr id="6" name="Title 1">
            <a:extLst>
              <a:ext uri="{FF2B5EF4-FFF2-40B4-BE49-F238E27FC236}">
                <a16:creationId xmlns:a16="http://schemas.microsoft.com/office/drawing/2014/main" id="{7016DFAE-1733-43E9-96C0-CAB0F501BD16}"/>
              </a:ext>
            </a:extLst>
          </p:cNvPr>
          <p:cNvSpPr txBox="1">
            <a:spLocks/>
          </p:cNvSpPr>
          <p:nvPr/>
        </p:nvSpPr>
        <p:spPr>
          <a:xfrm>
            <a:off x="200472" y="218370"/>
            <a:ext cx="9376166" cy="59249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ts val="300"/>
              </a:spcBef>
            </a:pPr>
            <a:r>
              <a:rPr lang="en-US" sz="2600" b="1" dirty="0">
                <a:solidFill>
                  <a:schemeClr val="tx1">
                    <a:lumMod val="85000"/>
                    <a:lumOff val="15000"/>
                  </a:schemeClr>
                </a:solidFill>
                <a:latin typeface="Century Gothic" panose="020B0502020202020204" pitchFamily="34" charset="0"/>
                <a:cs typeface="Arial" panose="020B0604020202020204" pitchFamily="34" charset="0"/>
              </a:rPr>
              <a:t>Example of an Intervention Project</a:t>
            </a:r>
            <a:br>
              <a:rPr lang="en-US" sz="2200" b="1" dirty="0">
                <a:solidFill>
                  <a:schemeClr val="tx1">
                    <a:lumMod val="85000"/>
                    <a:lumOff val="15000"/>
                  </a:schemeClr>
                </a:solidFill>
                <a:latin typeface="Century Gothic" panose="020B0502020202020204" pitchFamily="34" charset="0"/>
                <a:cs typeface="Arial" panose="020B0604020202020204" pitchFamily="34" charset="0"/>
              </a:rPr>
            </a:br>
            <a:r>
              <a:rPr lang="en-US" sz="2200" b="1" dirty="0">
                <a:solidFill>
                  <a:srgbClr val="0070C0"/>
                </a:solidFill>
                <a:latin typeface="Century Gothic" panose="020B0502020202020204" pitchFamily="34" charset="0"/>
                <a:cs typeface="Arial" panose="020B0604020202020204" pitchFamily="34" charset="0"/>
              </a:rPr>
              <a:t>Identified industrialised action fields</a:t>
            </a:r>
            <a:endParaRPr lang="en-ZA" sz="2200" b="1" dirty="0">
              <a:solidFill>
                <a:srgbClr val="0070C0"/>
              </a:solidFill>
              <a:latin typeface="Century Gothic" panose="020B0502020202020204" pitchFamily="34" charset="0"/>
              <a:cs typeface="Arial" panose="020B0604020202020204" pitchFamily="34" charset="0"/>
            </a:endParaRPr>
          </a:p>
        </p:txBody>
      </p:sp>
      <p:sp>
        <p:nvSpPr>
          <p:cNvPr id="59" name="Text Box 3">
            <a:extLst>
              <a:ext uri="{FF2B5EF4-FFF2-40B4-BE49-F238E27FC236}">
                <a16:creationId xmlns:a16="http://schemas.microsoft.com/office/drawing/2014/main" id="{74FFD836-B98E-4CFC-A0C8-10506F930BCF}"/>
              </a:ext>
            </a:extLst>
          </p:cNvPr>
          <p:cNvSpPr txBox="1">
            <a:spLocks noChangeArrowheads="1"/>
          </p:cNvSpPr>
          <p:nvPr/>
        </p:nvSpPr>
        <p:spPr bwMode="auto">
          <a:xfrm>
            <a:off x="1434423" y="2096013"/>
            <a:ext cx="1419540" cy="70339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rgbClr val="000000"/>
                </a:solidFill>
                <a:effectLst/>
                <a:latin typeface="Century Gothic" panose="020B0502020202020204" pitchFamily="34" charset="0"/>
              </a:rPr>
              <a:t>Market Intelligence (Market Knowledg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1" name="Text Box 5">
            <a:extLst>
              <a:ext uri="{FF2B5EF4-FFF2-40B4-BE49-F238E27FC236}">
                <a16:creationId xmlns:a16="http://schemas.microsoft.com/office/drawing/2014/main" id="{94D959C9-55E9-4E0C-B85A-0BC3A3B2A329}"/>
              </a:ext>
            </a:extLst>
          </p:cNvPr>
          <p:cNvSpPr txBox="1">
            <a:spLocks noChangeArrowheads="1"/>
          </p:cNvSpPr>
          <p:nvPr/>
        </p:nvSpPr>
        <p:spPr bwMode="auto">
          <a:xfrm>
            <a:off x="4683237" y="2093580"/>
            <a:ext cx="1419540" cy="54774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rgbClr val="000000"/>
                </a:solidFill>
                <a:effectLst/>
                <a:latin typeface="Century Gothic" panose="020B0502020202020204" pitchFamily="34" charset="0"/>
              </a:rPr>
              <a:t>Collaboration (Clustering)</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2" name="Text Box 6">
            <a:extLst>
              <a:ext uri="{FF2B5EF4-FFF2-40B4-BE49-F238E27FC236}">
                <a16:creationId xmlns:a16="http://schemas.microsoft.com/office/drawing/2014/main" id="{266A044D-E5B6-4CD8-BF92-55E9FF0ED0CC}"/>
              </a:ext>
            </a:extLst>
          </p:cNvPr>
          <p:cNvSpPr txBox="1">
            <a:spLocks noChangeArrowheads="1"/>
          </p:cNvSpPr>
          <p:nvPr/>
        </p:nvSpPr>
        <p:spPr bwMode="auto">
          <a:xfrm>
            <a:off x="6312509" y="2096013"/>
            <a:ext cx="1419540" cy="76202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rgbClr val="000000"/>
                </a:solidFill>
                <a:effectLst/>
                <a:latin typeface="Century Gothic" panose="020B0502020202020204" pitchFamily="34" charset="0"/>
              </a:rPr>
              <a:t>System Environment (Advanced Support Systems)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3" name="Text Box 7">
            <a:extLst>
              <a:ext uri="{FF2B5EF4-FFF2-40B4-BE49-F238E27FC236}">
                <a16:creationId xmlns:a16="http://schemas.microsoft.com/office/drawing/2014/main" id="{307C29E1-9A0F-4027-8DE7-1A14B4DD3993}"/>
              </a:ext>
            </a:extLst>
          </p:cNvPr>
          <p:cNvSpPr txBox="1">
            <a:spLocks noChangeArrowheads="1"/>
          </p:cNvSpPr>
          <p:nvPr/>
        </p:nvSpPr>
        <p:spPr bwMode="auto">
          <a:xfrm>
            <a:off x="1417931" y="3715988"/>
            <a:ext cx="1460770" cy="2957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rgbClr val="000000"/>
                </a:solidFill>
                <a:effectLst/>
                <a:latin typeface="Century Gothic" panose="020B0502020202020204" pitchFamily="34" charset="0"/>
              </a:rPr>
              <a:t>Market Appearance</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6" name="Text Box 10">
            <a:extLst>
              <a:ext uri="{FF2B5EF4-FFF2-40B4-BE49-F238E27FC236}">
                <a16:creationId xmlns:a16="http://schemas.microsoft.com/office/drawing/2014/main" id="{42541A50-EEFE-40EE-8B41-501AA9D87F5E}"/>
              </a:ext>
            </a:extLst>
          </p:cNvPr>
          <p:cNvSpPr txBox="1">
            <a:spLocks noChangeArrowheads="1"/>
          </p:cNvSpPr>
          <p:nvPr/>
        </p:nvSpPr>
        <p:spPr bwMode="auto">
          <a:xfrm>
            <a:off x="6312509" y="3715988"/>
            <a:ext cx="1419540" cy="497492"/>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rgbClr val="000000"/>
                </a:solidFill>
                <a:effectLst/>
                <a:latin typeface="Century Gothic" panose="020B0502020202020204" pitchFamily="34" charset="0"/>
              </a:rPr>
              <a:t>Technology          Capability</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68" name="Text Box 12">
            <a:extLst>
              <a:ext uri="{FF2B5EF4-FFF2-40B4-BE49-F238E27FC236}">
                <a16:creationId xmlns:a16="http://schemas.microsoft.com/office/drawing/2014/main" id="{98B67C63-2864-468D-8528-F733761E0806}"/>
              </a:ext>
            </a:extLst>
          </p:cNvPr>
          <p:cNvSpPr txBox="1">
            <a:spLocks noChangeArrowheads="1"/>
          </p:cNvSpPr>
          <p:nvPr/>
        </p:nvSpPr>
        <p:spPr bwMode="auto">
          <a:xfrm>
            <a:off x="3074291" y="5148082"/>
            <a:ext cx="1469474" cy="2957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rgbClr val="000000"/>
                </a:solidFill>
                <a:effectLst/>
                <a:latin typeface="Century Gothic" panose="020B0502020202020204" pitchFamily="34" charset="0"/>
              </a:rPr>
              <a:t>Product Focu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0" name="Text Box 14">
            <a:extLst>
              <a:ext uri="{FF2B5EF4-FFF2-40B4-BE49-F238E27FC236}">
                <a16:creationId xmlns:a16="http://schemas.microsoft.com/office/drawing/2014/main" id="{96E956F5-D501-493A-B8D4-0ED0CBA30CC7}"/>
              </a:ext>
            </a:extLst>
          </p:cNvPr>
          <p:cNvSpPr txBox="1">
            <a:spLocks noChangeArrowheads="1"/>
          </p:cNvSpPr>
          <p:nvPr/>
        </p:nvSpPr>
        <p:spPr bwMode="auto">
          <a:xfrm>
            <a:off x="6327026" y="5148082"/>
            <a:ext cx="1419540" cy="608385"/>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rgbClr val="000000"/>
                </a:solidFill>
                <a:effectLst/>
                <a:latin typeface="Century Gothic" panose="020B0502020202020204" pitchFamily="34" charset="0"/>
              </a:rPr>
              <a:t>Employee </a:t>
            </a:r>
          </a:p>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dirty="0">
                <a:ln>
                  <a:noFill/>
                </a:ln>
                <a:solidFill>
                  <a:srgbClr val="000000"/>
                </a:solidFill>
                <a:effectLst/>
                <a:latin typeface="Century Gothic" panose="020B0502020202020204" pitchFamily="34" charset="0"/>
              </a:rPr>
              <a:t>Qualifications (Skills) </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77" name="Rectangle 21">
            <a:extLst>
              <a:ext uri="{FF2B5EF4-FFF2-40B4-BE49-F238E27FC236}">
                <a16:creationId xmlns:a16="http://schemas.microsoft.com/office/drawing/2014/main" id="{310121EC-E482-4050-A5F1-9E17D5D24793}"/>
              </a:ext>
            </a:extLst>
          </p:cNvPr>
          <p:cNvSpPr>
            <a:spLocks noChangeArrowheads="1"/>
          </p:cNvSpPr>
          <p:nvPr/>
        </p:nvSpPr>
        <p:spPr bwMode="auto">
          <a:xfrm>
            <a:off x="6312509" y="5783136"/>
            <a:ext cx="1409290" cy="232985"/>
          </a:xfrm>
          <a:prstGeom prst="rect">
            <a:avLst/>
          </a:prstGeom>
          <a:solidFill>
            <a:srgbClr val="375077"/>
          </a:solidFill>
          <a:ln>
            <a:noFill/>
          </a:ln>
          <a:effectLst/>
          <a:extLs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endParaRPr lang="en-ZA"/>
          </a:p>
        </p:txBody>
      </p:sp>
      <p:sp>
        <p:nvSpPr>
          <p:cNvPr id="78" name="Text Box 22">
            <a:extLst>
              <a:ext uri="{FF2B5EF4-FFF2-40B4-BE49-F238E27FC236}">
                <a16:creationId xmlns:a16="http://schemas.microsoft.com/office/drawing/2014/main" id="{9749DAB8-5A75-4E43-9882-DD6872E07E26}"/>
              </a:ext>
            </a:extLst>
          </p:cNvPr>
          <p:cNvSpPr txBox="1">
            <a:spLocks noChangeArrowheads="1"/>
          </p:cNvSpPr>
          <p:nvPr/>
        </p:nvSpPr>
        <p:spPr bwMode="auto">
          <a:xfrm>
            <a:off x="6351612" y="5768524"/>
            <a:ext cx="1336498" cy="26148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1" i="0" u="none" strike="noStrike" cap="none" normalizeH="0" baseline="0" dirty="0">
                <a:ln>
                  <a:noFill/>
                </a:ln>
                <a:solidFill>
                  <a:srgbClr val="FFFFFF"/>
                </a:solidFill>
                <a:effectLst/>
                <a:latin typeface="Century Gothic" panose="020B0502020202020204" pitchFamily="34" charset="0"/>
              </a:rPr>
              <a:t>RESOURCES</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79" name="Picture 23">
            <a:extLst>
              <a:ext uri="{FF2B5EF4-FFF2-40B4-BE49-F238E27FC236}">
                <a16:creationId xmlns:a16="http://schemas.microsoft.com/office/drawing/2014/main" id="{BCD7DC77-C384-4EA2-B14B-6C4393B36B4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42514" y="1271996"/>
            <a:ext cx="805294" cy="75619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1" name="Picture 25">
            <a:extLst>
              <a:ext uri="{FF2B5EF4-FFF2-40B4-BE49-F238E27FC236}">
                <a16:creationId xmlns:a16="http://schemas.microsoft.com/office/drawing/2014/main" id="{657A7D7E-CA2D-49A3-B317-E15C560403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04234" y="1292161"/>
            <a:ext cx="767838" cy="75619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2" name="Picture 26">
            <a:extLst>
              <a:ext uri="{FF2B5EF4-FFF2-40B4-BE49-F238E27FC236}">
                <a16:creationId xmlns:a16="http://schemas.microsoft.com/office/drawing/2014/main" id="{620CF514-7A69-426C-B34B-BE580A569C7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49784" y="1271996"/>
            <a:ext cx="767838" cy="75619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3" name="Picture 27">
            <a:extLst>
              <a:ext uri="{FF2B5EF4-FFF2-40B4-BE49-F238E27FC236}">
                <a16:creationId xmlns:a16="http://schemas.microsoft.com/office/drawing/2014/main" id="{6056ED42-C3E5-4D68-9E6E-E470CC2B5E6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50024" y="2915401"/>
            <a:ext cx="777202" cy="74610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6" name="Picture 30">
            <a:extLst>
              <a:ext uri="{FF2B5EF4-FFF2-40B4-BE49-F238E27FC236}">
                <a16:creationId xmlns:a16="http://schemas.microsoft.com/office/drawing/2014/main" id="{628ABA54-C0A3-4FD3-9BB6-6EBC831F313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49784" y="2915401"/>
            <a:ext cx="767838" cy="76627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8" name="Picture 32">
            <a:extLst>
              <a:ext uri="{FF2B5EF4-FFF2-40B4-BE49-F238E27FC236}">
                <a16:creationId xmlns:a16="http://schemas.microsoft.com/office/drawing/2014/main" id="{D6E8F4CA-035F-4194-BAF1-2C4C6281CD0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17928" y="4345356"/>
            <a:ext cx="777202" cy="74610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90" name="Picture 34">
            <a:extLst>
              <a:ext uri="{FF2B5EF4-FFF2-40B4-BE49-F238E27FC236}">
                <a16:creationId xmlns:a16="http://schemas.microsoft.com/office/drawing/2014/main" id="{0C67DC58-63E5-4E2E-A530-AACCC0268FB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46228" y="4345356"/>
            <a:ext cx="758475" cy="74610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91" name="Rechteck 47">
            <a:extLst>
              <a:ext uri="{FF2B5EF4-FFF2-40B4-BE49-F238E27FC236}">
                <a16:creationId xmlns:a16="http://schemas.microsoft.com/office/drawing/2014/main" id="{00624AC7-40A4-4078-A941-5E5CD1554844}"/>
              </a:ext>
            </a:extLst>
          </p:cNvPr>
          <p:cNvSpPr/>
          <p:nvPr/>
        </p:nvSpPr>
        <p:spPr>
          <a:xfrm>
            <a:off x="1235945" y="1324126"/>
            <a:ext cx="6694889" cy="4753282"/>
          </a:xfrm>
          <a:prstGeom prst="rect">
            <a:avLst/>
          </a:prstGeom>
          <a:solidFill>
            <a:sysClr val="window" lastClr="FFFFFF">
              <a:alpha val="86000"/>
            </a:sysClr>
          </a:solidFill>
          <a:ln w="25400" cap="flat" cmpd="sng" algn="ctr">
            <a:solidFill>
              <a:sysClr val="window" lastClr="FFFFFF"/>
            </a:solidFill>
            <a:prstDash val="solid"/>
          </a:ln>
          <a:effectLst/>
        </p:spPr>
        <p:txBody>
          <a:bodyPr lIns="91418" tIns="45709" rIns="91418" bIns="45709" rtlCol="0" anchor="ctr"/>
          <a:lstStyle/>
          <a:p>
            <a:pPr algn="ctr">
              <a:defRPr/>
            </a:pPr>
            <a:endParaRPr lang="de-DE" kern="0">
              <a:solidFill>
                <a:prstClr val="white"/>
              </a:solidFill>
              <a:latin typeface="Calibri"/>
            </a:endParaRPr>
          </a:p>
        </p:txBody>
      </p:sp>
      <p:sp>
        <p:nvSpPr>
          <p:cNvPr id="65" name="Text Box 9">
            <a:extLst>
              <a:ext uri="{FF2B5EF4-FFF2-40B4-BE49-F238E27FC236}">
                <a16:creationId xmlns:a16="http://schemas.microsoft.com/office/drawing/2014/main" id="{A48132AA-E289-40A2-9112-3AD0247BB5E7}"/>
              </a:ext>
            </a:extLst>
          </p:cNvPr>
          <p:cNvSpPr txBox="1">
            <a:spLocks noChangeArrowheads="1"/>
          </p:cNvSpPr>
          <p:nvPr/>
        </p:nvSpPr>
        <p:spPr bwMode="auto">
          <a:xfrm>
            <a:off x="4683237" y="3713555"/>
            <a:ext cx="1419540" cy="499925"/>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ts val="500"/>
              </a:spcAft>
              <a:buClrTx/>
              <a:buSzTx/>
              <a:buFontTx/>
              <a:buNone/>
              <a:tabLst/>
            </a:pPr>
            <a:r>
              <a:rPr kumimoji="0" lang="en-GB" altLang="en-US" sz="1100" b="0" i="0" u="none" strike="noStrike" cap="none" normalizeH="0" baseline="0">
                <a:ln>
                  <a:noFill/>
                </a:ln>
                <a:solidFill>
                  <a:srgbClr val="000000"/>
                </a:solidFill>
                <a:effectLst/>
                <a:latin typeface="Century Gothic" panose="020B0502020202020204" pitchFamily="34" charset="0"/>
              </a:rPr>
              <a:t>Manufacturing    Process Structure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9" name="Text Box 13">
            <a:extLst>
              <a:ext uri="{FF2B5EF4-FFF2-40B4-BE49-F238E27FC236}">
                <a16:creationId xmlns:a16="http://schemas.microsoft.com/office/drawing/2014/main" id="{B1D429C1-111A-49D1-94CF-78E96642B924}"/>
              </a:ext>
            </a:extLst>
          </p:cNvPr>
          <p:cNvSpPr txBox="1">
            <a:spLocks noChangeArrowheads="1"/>
          </p:cNvSpPr>
          <p:nvPr/>
        </p:nvSpPr>
        <p:spPr bwMode="auto">
          <a:xfrm>
            <a:off x="4697753" y="5145649"/>
            <a:ext cx="1419540" cy="499925"/>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rgbClr val="000000"/>
                </a:solidFill>
                <a:effectLst/>
                <a:latin typeface="Century Gothic" panose="020B0502020202020204" pitchFamily="34" charset="0"/>
              </a:rPr>
              <a:t>Shop Floor         Managemen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75" name="Rectangle 19">
            <a:extLst>
              <a:ext uri="{FF2B5EF4-FFF2-40B4-BE49-F238E27FC236}">
                <a16:creationId xmlns:a16="http://schemas.microsoft.com/office/drawing/2014/main" id="{A1B63413-3AE4-45E3-ABD8-045DB7553C4B}"/>
              </a:ext>
            </a:extLst>
          </p:cNvPr>
          <p:cNvSpPr>
            <a:spLocks noChangeArrowheads="1"/>
          </p:cNvSpPr>
          <p:nvPr/>
        </p:nvSpPr>
        <p:spPr bwMode="auto">
          <a:xfrm>
            <a:off x="4688390" y="5790798"/>
            <a:ext cx="1409290" cy="232985"/>
          </a:xfrm>
          <a:prstGeom prst="rect">
            <a:avLst/>
          </a:prstGeom>
          <a:solidFill>
            <a:srgbClr val="375077"/>
          </a:solidFill>
          <a:ln>
            <a:noFill/>
          </a:ln>
          <a:effectLst/>
          <a:extLs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endParaRPr lang="en-ZA"/>
          </a:p>
        </p:txBody>
      </p:sp>
      <p:sp>
        <p:nvSpPr>
          <p:cNvPr id="76" name="Text Box 20">
            <a:extLst>
              <a:ext uri="{FF2B5EF4-FFF2-40B4-BE49-F238E27FC236}">
                <a16:creationId xmlns:a16="http://schemas.microsoft.com/office/drawing/2014/main" id="{EDAB69CF-AAFC-4321-B192-3F0EEAD0E5DC}"/>
              </a:ext>
            </a:extLst>
          </p:cNvPr>
          <p:cNvSpPr txBox="1">
            <a:spLocks noChangeArrowheads="1"/>
          </p:cNvSpPr>
          <p:nvPr/>
        </p:nvSpPr>
        <p:spPr bwMode="auto">
          <a:xfrm>
            <a:off x="4727493" y="5776186"/>
            <a:ext cx="1336498" cy="26148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1" i="0" u="none" strike="noStrike" cap="none" normalizeH="0" baseline="0">
                <a:ln>
                  <a:noFill/>
                </a:ln>
                <a:solidFill>
                  <a:srgbClr val="FFFFFF"/>
                </a:solidFill>
                <a:effectLst/>
                <a:latin typeface="Century Gothic" panose="020B0502020202020204" pitchFamily="34" charset="0"/>
              </a:rPr>
              <a:t>PROCES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85" name="Picture 29">
            <a:extLst>
              <a:ext uri="{FF2B5EF4-FFF2-40B4-BE49-F238E27FC236}">
                <a16:creationId xmlns:a16="http://schemas.microsoft.com/office/drawing/2014/main" id="{595268FC-1A20-491C-A11F-072FB2CB8A5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985506" y="2905317"/>
            <a:ext cx="786566" cy="75619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9" name="Picture 33">
            <a:extLst>
              <a:ext uri="{FF2B5EF4-FFF2-40B4-BE49-F238E27FC236}">
                <a16:creationId xmlns:a16="http://schemas.microsoft.com/office/drawing/2014/main" id="{08D64D38-4E38-4D09-804C-370B033191D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26704" y="4355439"/>
            <a:ext cx="777202" cy="736025"/>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60" name="Text Box 4">
            <a:extLst>
              <a:ext uri="{FF2B5EF4-FFF2-40B4-BE49-F238E27FC236}">
                <a16:creationId xmlns:a16="http://schemas.microsoft.com/office/drawing/2014/main" id="{A686A6B6-F7A2-4BCA-B9AD-C8B578D150C4}"/>
              </a:ext>
            </a:extLst>
          </p:cNvPr>
          <p:cNvSpPr txBox="1">
            <a:spLocks noChangeArrowheads="1"/>
          </p:cNvSpPr>
          <p:nvPr/>
        </p:nvSpPr>
        <p:spPr bwMode="auto">
          <a:xfrm>
            <a:off x="3076419" y="2096013"/>
            <a:ext cx="1419540" cy="52757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rgbClr val="000000"/>
                </a:solidFill>
                <a:effectLst/>
                <a:latin typeface="Century Gothic" panose="020B0502020202020204" pitchFamily="34" charset="0"/>
              </a:rPr>
              <a:t>Service Integration (Product Suppor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4" name="Text Box 8">
            <a:extLst>
              <a:ext uri="{FF2B5EF4-FFF2-40B4-BE49-F238E27FC236}">
                <a16:creationId xmlns:a16="http://schemas.microsoft.com/office/drawing/2014/main" id="{E52B469F-63A3-430D-A230-532E64E753FF}"/>
              </a:ext>
            </a:extLst>
          </p:cNvPr>
          <p:cNvSpPr txBox="1">
            <a:spLocks noChangeArrowheads="1"/>
          </p:cNvSpPr>
          <p:nvPr/>
        </p:nvSpPr>
        <p:spPr bwMode="auto">
          <a:xfrm>
            <a:off x="3059775" y="3715988"/>
            <a:ext cx="1469474" cy="2957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rgbClr val="000000"/>
                </a:solidFill>
                <a:effectLst/>
                <a:latin typeface="Century Gothic" panose="020B0502020202020204" pitchFamily="34" charset="0"/>
              </a:rPr>
              <a:t>Product Innovat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80" name="Picture 24">
            <a:extLst>
              <a:ext uri="{FF2B5EF4-FFF2-40B4-BE49-F238E27FC236}">
                <a16:creationId xmlns:a16="http://schemas.microsoft.com/office/drawing/2014/main" id="{4D4623B1-2640-4C52-A20E-8723C47CA6A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387330" y="1292161"/>
            <a:ext cx="805294" cy="736025"/>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4" name="Picture 28">
            <a:extLst>
              <a:ext uri="{FF2B5EF4-FFF2-40B4-BE49-F238E27FC236}">
                <a16:creationId xmlns:a16="http://schemas.microsoft.com/office/drawing/2014/main" id="{81998872-F107-4254-B82A-E210B73EE68B}"/>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410739" y="2905317"/>
            <a:ext cx="758475" cy="75619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73" name="Rectangle 17">
            <a:extLst>
              <a:ext uri="{FF2B5EF4-FFF2-40B4-BE49-F238E27FC236}">
                <a16:creationId xmlns:a16="http://schemas.microsoft.com/office/drawing/2014/main" id="{AB0E75B0-214B-42E7-9A36-9751F7FEE870}"/>
              </a:ext>
            </a:extLst>
          </p:cNvPr>
          <p:cNvSpPr>
            <a:spLocks noChangeArrowheads="1"/>
          </p:cNvSpPr>
          <p:nvPr/>
        </p:nvSpPr>
        <p:spPr bwMode="auto">
          <a:xfrm>
            <a:off x="3080890" y="5790798"/>
            <a:ext cx="1409290" cy="232985"/>
          </a:xfrm>
          <a:prstGeom prst="rect">
            <a:avLst/>
          </a:prstGeom>
          <a:solidFill>
            <a:srgbClr val="375077"/>
          </a:solidFill>
          <a:ln>
            <a:noFill/>
          </a:ln>
          <a:effectLst/>
          <a:extLs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endParaRPr lang="en-ZA"/>
          </a:p>
        </p:txBody>
      </p:sp>
      <p:sp>
        <p:nvSpPr>
          <p:cNvPr id="74" name="Text Box 18">
            <a:extLst>
              <a:ext uri="{FF2B5EF4-FFF2-40B4-BE49-F238E27FC236}">
                <a16:creationId xmlns:a16="http://schemas.microsoft.com/office/drawing/2014/main" id="{14815FE2-8E1C-454E-90CC-4D18DFCCA4C4}"/>
              </a:ext>
            </a:extLst>
          </p:cNvPr>
          <p:cNvSpPr txBox="1">
            <a:spLocks noChangeArrowheads="1"/>
          </p:cNvSpPr>
          <p:nvPr/>
        </p:nvSpPr>
        <p:spPr bwMode="auto">
          <a:xfrm>
            <a:off x="3119992" y="5776186"/>
            <a:ext cx="1336498" cy="26148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1" i="0" u="none" strike="noStrike" cap="none" normalizeH="0" baseline="0">
                <a:ln>
                  <a:noFill/>
                </a:ln>
                <a:solidFill>
                  <a:srgbClr val="FFFFFF"/>
                </a:solidFill>
                <a:effectLst/>
                <a:latin typeface="Century Gothic" panose="020B0502020202020204" pitchFamily="34" charset="0"/>
              </a:rPr>
              <a:t>PRODUC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67" name="Text Box 11">
            <a:extLst>
              <a:ext uri="{FF2B5EF4-FFF2-40B4-BE49-F238E27FC236}">
                <a16:creationId xmlns:a16="http://schemas.microsoft.com/office/drawing/2014/main" id="{29CB29D9-D8F2-43DF-98DB-E71BD2F96564}"/>
              </a:ext>
            </a:extLst>
          </p:cNvPr>
          <p:cNvSpPr txBox="1">
            <a:spLocks noChangeArrowheads="1"/>
          </p:cNvSpPr>
          <p:nvPr/>
        </p:nvSpPr>
        <p:spPr bwMode="auto">
          <a:xfrm>
            <a:off x="1432447" y="5148082"/>
            <a:ext cx="1460770" cy="2957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rgbClr val="000000"/>
                </a:solidFill>
                <a:effectLst/>
                <a:latin typeface="Century Gothic" panose="020B0502020202020204" pitchFamily="34" charset="0"/>
              </a:rPr>
              <a:t>Strateg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87" name="Picture 31">
            <a:extLst>
              <a:ext uri="{FF2B5EF4-FFF2-40B4-BE49-F238E27FC236}">
                <a16:creationId xmlns:a16="http://schemas.microsoft.com/office/drawing/2014/main" id="{B46CE96E-8848-4B00-90C1-2F9DE4183CE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778113" y="4325191"/>
            <a:ext cx="758475" cy="76627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71" name="Rectangle 15">
            <a:extLst>
              <a:ext uri="{FF2B5EF4-FFF2-40B4-BE49-F238E27FC236}">
                <a16:creationId xmlns:a16="http://schemas.microsoft.com/office/drawing/2014/main" id="{66C44288-C4B0-4007-98B7-25A95870DEDA}"/>
              </a:ext>
            </a:extLst>
          </p:cNvPr>
          <p:cNvSpPr>
            <a:spLocks noChangeArrowheads="1"/>
          </p:cNvSpPr>
          <p:nvPr/>
        </p:nvSpPr>
        <p:spPr bwMode="auto">
          <a:xfrm>
            <a:off x="1444673" y="5790798"/>
            <a:ext cx="1409290" cy="232985"/>
          </a:xfrm>
          <a:prstGeom prst="rect">
            <a:avLst/>
          </a:prstGeom>
          <a:solidFill>
            <a:srgbClr val="375077"/>
          </a:solidFill>
          <a:ln>
            <a:noFill/>
          </a:ln>
          <a:effectLst/>
          <a:extLst>
            <a:ext uri="{91240B29-F687-4F45-9708-019B960494DF}">
              <a14:hiddenLine xmlns:a14="http://schemas.microsoft.com/office/drawing/2010/main" w="635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endParaRPr lang="en-ZA"/>
          </a:p>
        </p:txBody>
      </p:sp>
      <p:sp>
        <p:nvSpPr>
          <p:cNvPr id="72" name="Text Box 16">
            <a:extLst>
              <a:ext uri="{FF2B5EF4-FFF2-40B4-BE49-F238E27FC236}">
                <a16:creationId xmlns:a16="http://schemas.microsoft.com/office/drawing/2014/main" id="{9F5C0818-852D-426F-8942-9E9FB4CF5AF4}"/>
              </a:ext>
            </a:extLst>
          </p:cNvPr>
          <p:cNvSpPr txBox="1">
            <a:spLocks noChangeArrowheads="1"/>
          </p:cNvSpPr>
          <p:nvPr/>
        </p:nvSpPr>
        <p:spPr bwMode="auto">
          <a:xfrm>
            <a:off x="1483776" y="5776186"/>
            <a:ext cx="1336498" cy="26148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1100" b="1" i="0" u="none" strike="noStrike" cap="none" normalizeH="0" baseline="0">
                <a:ln>
                  <a:noFill/>
                </a:ln>
                <a:solidFill>
                  <a:srgbClr val="FFFFFF"/>
                </a:solidFill>
                <a:effectLst/>
                <a:latin typeface="Century Gothic" panose="020B0502020202020204" pitchFamily="34" charset="0"/>
              </a:rPr>
              <a:t>MARKE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50" name="Abgerundete rechteckige Legende 50">
            <a:extLst>
              <a:ext uri="{FF2B5EF4-FFF2-40B4-BE49-F238E27FC236}">
                <a16:creationId xmlns:a16="http://schemas.microsoft.com/office/drawing/2014/main" id="{4365554F-61CE-486B-8CC5-186AB61AD615}"/>
              </a:ext>
            </a:extLst>
          </p:cNvPr>
          <p:cNvSpPr/>
          <p:nvPr/>
        </p:nvSpPr>
        <p:spPr>
          <a:xfrm>
            <a:off x="5998394" y="4249296"/>
            <a:ext cx="2530709" cy="628679"/>
          </a:xfrm>
          <a:prstGeom prst="wedgeRoundRectCallout">
            <a:avLst>
              <a:gd name="adj1" fmla="val -66503"/>
              <a:gd name="adj2" fmla="val -10874"/>
              <a:gd name="adj3" fmla="val 16667"/>
            </a:avLst>
          </a:prstGeom>
          <a:solidFill>
            <a:sysClr val="window" lastClr="FFFFFF"/>
          </a:solidFill>
          <a:ln w="12700" cap="flat" cmpd="sng" algn="ctr">
            <a:solidFill>
              <a:schemeClr val="accent5"/>
            </a:solidFill>
            <a:prstDash val="solid"/>
          </a:ln>
          <a:effectLst>
            <a:outerShdw blurRad="50800" dist="38100" dir="2700000" algn="tl" rotWithShape="0">
              <a:prstClr val="black">
                <a:alpha val="40000"/>
              </a:prstClr>
            </a:outerShdw>
          </a:effectLst>
        </p:spPr>
        <p:txBody>
          <a:bodyPr lIns="91418" tIns="45709" rIns="91418" bIns="45709" rtlCol="0" anchor="ctr"/>
          <a:lstStyle/>
          <a:p>
            <a:pPr algn="ctr">
              <a:defRPr/>
            </a:pPr>
            <a:r>
              <a:rPr lang="de-DE" sz="1400" b="1" kern="0" dirty="0">
                <a:solidFill>
                  <a:prstClr val="black"/>
                </a:solidFill>
                <a:latin typeface="Century Gothic" panose="020B0502020202020204" pitchFamily="34" charset="0"/>
                <a:cs typeface="Arial" panose="020B0604020202020204" pitchFamily="34" charset="0"/>
              </a:rPr>
              <a:t>Shop floor Management</a:t>
            </a:r>
          </a:p>
          <a:p>
            <a:pPr algn="ctr">
              <a:defRPr/>
            </a:pPr>
            <a:r>
              <a:rPr lang="de-DE" sz="1400" kern="0" dirty="0">
                <a:solidFill>
                  <a:prstClr val="black"/>
                </a:solidFill>
                <a:latin typeface="Century Gothic" panose="020B0502020202020204" pitchFamily="34" charset="0"/>
                <a:cs typeface="Arial" panose="020B0604020202020204" pitchFamily="34" charset="0"/>
              </a:rPr>
              <a:t>Cleanliness and tidiness</a:t>
            </a:r>
          </a:p>
        </p:txBody>
      </p:sp>
      <p:sp>
        <p:nvSpPr>
          <p:cNvPr id="52" name="Abgerundete rechteckige Legende 52">
            <a:extLst>
              <a:ext uri="{FF2B5EF4-FFF2-40B4-BE49-F238E27FC236}">
                <a16:creationId xmlns:a16="http://schemas.microsoft.com/office/drawing/2014/main" id="{A8E33025-A06A-45D9-BB96-F6AA84CD4E7A}"/>
              </a:ext>
            </a:extLst>
          </p:cNvPr>
          <p:cNvSpPr/>
          <p:nvPr/>
        </p:nvSpPr>
        <p:spPr>
          <a:xfrm>
            <a:off x="5324344" y="1882525"/>
            <a:ext cx="2397455" cy="931826"/>
          </a:xfrm>
          <a:prstGeom prst="wedgeRoundRectCallout">
            <a:avLst>
              <a:gd name="adj1" fmla="val -39529"/>
              <a:gd name="adj2" fmla="val 105808"/>
              <a:gd name="adj3" fmla="val 16667"/>
            </a:avLst>
          </a:prstGeom>
          <a:solidFill>
            <a:sysClr val="window" lastClr="FFFFFF"/>
          </a:solidFill>
          <a:ln w="12700" cap="flat" cmpd="sng" algn="ctr">
            <a:solidFill>
              <a:schemeClr val="accent5"/>
            </a:solidFill>
            <a:prstDash val="solid"/>
          </a:ln>
          <a:effectLst>
            <a:outerShdw blurRad="50800" dist="38100" dir="2700000" algn="tl" rotWithShape="0">
              <a:prstClr val="black">
                <a:alpha val="40000"/>
              </a:prstClr>
            </a:outerShdw>
          </a:effectLst>
        </p:spPr>
        <p:txBody>
          <a:bodyPr lIns="0" tIns="45709" rIns="0" bIns="45709" rtlCol="0" anchor="ctr"/>
          <a:lstStyle/>
          <a:p>
            <a:pPr algn="ctr">
              <a:defRPr/>
            </a:pPr>
            <a:r>
              <a:rPr lang="de-DE" sz="1400" b="1" kern="0" dirty="0" err="1">
                <a:solidFill>
                  <a:prstClr val="black"/>
                </a:solidFill>
                <a:latin typeface="Century Gothic" panose="020B0502020202020204" pitchFamily="34" charset="0"/>
                <a:cs typeface="Arial" panose="020B0604020202020204" pitchFamily="34" charset="0"/>
              </a:rPr>
              <a:t>Efficient</a:t>
            </a:r>
            <a:r>
              <a:rPr lang="de-DE" sz="1400" b="1" kern="0" dirty="0">
                <a:solidFill>
                  <a:prstClr val="black"/>
                </a:solidFill>
                <a:latin typeface="Century Gothic" panose="020B0502020202020204" pitchFamily="34" charset="0"/>
                <a:cs typeface="Arial" panose="020B0604020202020204" pitchFamily="34" charset="0"/>
              </a:rPr>
              <a:t> Order Processing</a:t>
            </a:r>
          </a:p>
          <a:p>
            <a:pPr algn="ctr">
              <a:defRPr/>
            </a:pPr>
            <a:r>
              <a:rPr lang="de-DE" sz="1400" kern="0" dirty="0">
                <a:solidFill>
                  <a:prstClr val="black"/>
                </a:solidFill>
                <a:latin typeface="Century Gothic" panose="020B0502020202020204" pitchFamily="34" charset="0"/>
                <a:cs typeface="Arial" panose="020B0604020202020204" pitchFamily="34" charset="0"/>
              </a:rPr>
              <a:t>through </a:t>
            </a:r>
          </a:p>
          <a:p>
            <a:pPr algn="ctr">
              <a:defRPr/>
            </a:pPr>
            <a:r>
              <a:rPr lang="de-DE" sz="1400" kern="0" dirty="0">
                <a:solidFill>
                  <a:prstClr val="black"/>
                </a:solidFill>
                <a:latin typeface="Century Gothic" panose="020B0502020202020204" pitchFamily="34" charset="0"/>
                <a:cs typeface="Arial" panose="020B0604020202020204" pitchFamily="34" charset="0"/>
              </a:rPr>
              <a:t>permanent process optimisation</a:t>
            </a:r>
          </a:p>
        </p:txBody>
      </p:sp>
      <p:sp>
        <p:nvSpPr>
          <p:cNvPr id="42" name="Abgerundete rechteckige Legende 48">
            <a:extLst>
              <a:ext uri="{FF2B5EF4-FFF2-40B4-BE49-F238E27FC236}">
                <a16:creationId xmlns:a16="http://schemas.microsoft.com/office/drawing/2014/main" id="{35F9DD7C-9EBA-48C8-AF2F-438F00A8A479}"/>
              </a:ext>
            </a:extLst>
          </p:cNvPr>
          <p:cNvSpPr/>
          <p:nvPr/>
        </p:nvSpPr>
        <p:spPr>
          <a:xfrm flipH="1">
            <a:off x="2666691" y="4156925"/>
            <a:ext cx="2084616" cy="1262259"/>
          </a:xfrm>
          <a:prstGeom prst="wedgeRoundRectCallout">
            <a:avLst>
              <a:gd name="adj1" fmla="val 65545"/>
              <a:gd name="adj2" fmla="val 15154"/>
              <a:gd name="adj3" fmla="val 16667"/>
            </a:avLst>
          </a:prstGeom>
          <a:solidFill>
            <a:sysClr val="window" lastClr="FFFFFF"/>
          </a:solidFill>
          <a:ln w="12700" cap="flat" cmpd="sng" algn="ctr">
            <a:solidFill>
              <a:schemeClr val="accent5"/>
            </a:solidFill>
            <a:prstDash val="solid"/>
          </a:ln>
          <a:effectLst>
            <a:outerShdw blurRad="50800" dist="38100" dir="2700000" algn="tl" rotWithShape="0">
              <a:prstClr val="black">
                <a:alpha val="40000"/>
              </a:prstClr>
            </a:outerShdw>
          </a:effectLst>
        </p:spPr>
        <p:txBody>
          <a:bodyPr lIns="0" tIns="45709" rIns="0" bIns="45709" rtlCol="0" anchor="ctr"/>
          <a:lstStyle/>
          <a:p>
            <a:pPr algn="ctr">
              <a:defRPr/>
            </a:pPr>
            <a:r>
              <a:rPr lang="en-US" sz="1400" b="1" kern="0" dirty="0">
                <a:solidFill>
                  <a:prstClr val="black"/>
                </a:solidFill>
                <a:latin typeface="Century Gothic" panose="020B0502020202020204" pitchFamily="34" charset="0"/>
                <a:cs typeface="Arial" panose="020B0604020202020204" pitchFamily="34" charset="0"/>
              </a:rPr>
              <a:t>Strategic Focusing </a:t>
            </a:r>
          </a:p>
          <a:p>
            <a:pPr algn="ctr">
              <a:defRPr/>
            </a:pPr>
            <a:r>
              <a:rPr lang="en-US" sz="1400" kern="0" dirty="0">
                <a:solidFill>
                  <a:prstClr val="black"/>
                </a:solidFill>
                <a:latin typeface="Century Gothic" panose="020B0502020202020204" pitchFamily="34" charset="0"/>
                <a:cs typeface="Arial" panose="020B0604020202020204" pitchFamily="34" charset="0"/>
              </a:rPr>
              <a:t>through Advancing Core Competencies and Systematic Outsourcing</a:t>
            </a:r>
          </a:p>
        </p:txBody>
      </p:sp>
      <p:sp>
        <p:nvSpPr>
          <p:cNvPr id="53" name="Abgerundete rechteckige Legende 54">
            <a:extLst>
              <a:ext uri="{FF2B5EF4-FFF2-40B4-BE49-F238E27FC236}">
                <a16:creationId xmlns:a16="http://schemas.microsoft.com/office/drawing/2014/main" id="{D0A7CBA2-6B7B-46EC-8B9D-CB9A0B366920}"/>
              </a:ext>
            </a:extLst>
          </p:cNvPr>
          <p:cNvSpPr/>
          <p:nvPr/>
        </p:nvSpPr>
        <p:spPr>
          <a:xfrm flipH="1">
            <a:off x="1477968" y="2554975"/>
            <a:ext cx="1700566" cy="1150888"/>
          </a:xfrm>
          <a:prstGeom prst="wedgeRoundRectCallout">
            <a:avLst>
              <a:gd name="adj1" fmla="val -71923"/>
              <a:gd name="adj2" fmla="val 18828"/>
              <a:gd name="adj3" fmla="val 16667"/>
            </a:avLst>
          </a:prstGeom>
          <a:solidFill>
            <a:sysClr val="window" lastClr="FFFFFF"/>
          </a:solidFill>
          <a:ln w="12700" cap="flat" cmpd="sng" algn="ctr">
            <a:solidFill>
              <a:schemeClr val="accent5"/>
            </a:solidFill>
            <a:prstDash val="solid"/>
          </a:ln>
          <a:effectLst>
            <a:outerShdw blurRad="50800" dist="38100" dir="2700000" algn="tl" rotWithShape="0">
              <a:prstClr val="black">
                <a:alpha val="40000"/>
              </a:prstClr>
            </a:outerShdw>
          </a:effectLst>
        </p:spPr>
        <p:txBody>
          <a:bodyPr lIns="91418" tIns="45709" rIns="91418" bIns="45709" rtlCol="0" anchor="ctr"/>
          <a:lstStyle/>
          <a:p>
            <a:pPr algn="ctr">
              <a:defRPr/>
            </a:pPr>
            <a:r>
              <a:rPr lang="de-DE" sz="1400" b="1" kern="0" dirty="0">
                <a:solidFill>
                  <a:prstClr val="black"/>
                </a:solidFill>
                <a:latin typeface="Century Gothic" panose="020B0502020202020204" pitchFamily="34" charset="0"/>
                <a:cs typeface="Arial" panose="020B0604020202020204" pitchFamily="34" charset="0"/>
              </a:rPr>
              <a:t>Standardisation of Tools</a:t>
            </a:r>
          </a:p>
          <a:p>
            <a:pPr algn="ctr">
              <a:defRPr/>
            </a:pPr>
            <a:r>
              <a:rPr lang="de-DE" sz="1400" kern="0" dirty="0">
                <a:solidFill>
                  <a:prstClr val="black"/>
                </a:solidFill>
                <a:latin typeface="Century Gothic" panose="020B0502020202020204" pitchFamily="34" charset="0"/>
                <a:cs typeface="Arial" panose="020B0604020202020204" pitchFamily="34" charset="0"/>
              </a:rPr>
              <a:t>through specific design standards</a:t>
            </a:r>
          </a:p>
        </p:txBody>
      </p:sp>
      <p:sp>
        <p:nvSpPr>
          <p:cNvPr id="51" name="Abgerundete rechteckige Legende 51">
            <a:extLst>
              <a:ext uri="{FF2B5EF4-FFF2-40B4-BE49-F238E27FC236}">
                <a16:creationId xmlns:a16="http://schemas.microsoft.com/office/drawing/2014/main" id="{DC6914F9-3B6D-48BA-A760-BA29E0085692}"/>
              </a:ext>
            </a:extLst>
          </p:cNvPr>
          <p:cNvSpPr/>
          <p:nvPr/>
        </p:nvSpPr>
        <p:spPr>
          <a:xfrm flipH="1">
            <a:off x="1235945" y="1228826"/>
            <a:ext cx="1812229" cy="842575"/>
          </a:xfrm>
          <a:prstGeom prst="wedgeRoundRectCallout">
            <a:avLst>
              <a:gd name="adj1" fmla="val -76397"/>
              <a:gd name="adj2" fmla="val 11539"/>
              <a:gd name="adj3" fmla="val 16667"/>
            </a:avLst>
          </a:prstGeom>
          <a:solidFill>
            <a:sysClr val="window" lastClr="FFFFFF"/>
          </a:solidFill>
          <a:ln w="12700" cap="flat" cmpd="sng" algn="ctr">
            <a:solidFill>
              <a:schemeClr val="accent5"/>
            </a:solidFill>
            <a:prstDash val="solid"/>
          </a:ln>
          <a:effectLst>
            <a:outerShdw blurRad="50800" dist="38100" dir="2700000" algn="tl" rotWithShape="0">
              <a:prstClr val="black">
                <a:alpha val="40000"/>
              </a:prstClr>
            </a:outerShdw>
          </a:effectLst>
        </p:spPr>
        <p:txBody>
          <a:bodyPr lIns="0" tIns="45709" rIns="0" bIns="45709" rtlCol="0" anchor="ctr"/>
          <a:lstStyle/>
          <a:p>
            <a:pPr algn="ctr">
              <a:defRPr/>
            </a:pPr>
            <a:r>
              <a:rPr lang="en-US" sz="1400" b="1" kern="0" dirty="0">
                <a:solidFill>
                  <a:prstClr val="black"/>
                </a:solidFill>
                <a:latin typeface="Century Gothic" panose="020B0502020202020204" pitchFamily="34" charset="0"/>
                <a:cs typeface="Arial" panose="020B0604020202020204" pitchFamily="34" charset="0"/>
              </a:rPr>
              <a:t>Networking with Customer </a:t>
            </a:r>
            <a:r>
              <a:rPr lang="en-US" sz="1400" kern="0" dirty="0">
                <a:solidFill>
                  <a:prstClr val="black"/>
                </a:solidFill>
                <a:latin typeface="Century Gothic" panose="020B0502020202020204" pitchFamily="34" charset="0"/>
                <a:cs typeface="Arial" panose="020B0604020202020204" pitchFamily="34" charset="0"/>
              </a:rPr>
              <a:t>through </a:t>
            </a:r>
          </a:p>
          <a:p>
            <a:pPr algn="ctr">
              <a:defRPr/>
            </a:pPr>
            <a:r>
              <a:rPr lang="en-US" sz="1400" kern="0" dirty="0">
                <a:solidFill>
                  <a:prstClr val="black"/>
                </a:solidFill>
                <a:latin typeface="Century Gothic" panose="020B0502020202020204" pitchFamily="34" charset="0"/>
                <a:cs typeface="Arial" panose="020B0604020202020204" pitchFamily="34" charset="0"/>
              </a:rPr>
              <a:t>Life Cycle Support</a:t>
            </a:r>
          </a:p>
        </p:txBody>
      </p:sp>
      <p:pic>
        <p:nvPicPr>
          <p:cNvPr id="45" name="Picture 44">
            <a:extLst>
              <a:ext uri="{FF2B5EF4-FFF2-40B4-BE49-F238E27FC236}">
                <a16:creationId xmlns:a16="http://schemas.microsoft.com/office/drawing/2014/main" id="{92C682B3-DE24-4B46-9C8E-B719BC91CDC2}"/>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00938" y="6046790"/>
            <a:ext cx="1856232" cy="417384"/>
          </a:xfrm>
          <a:prstGeom prst="rect">
            <a:avLst/>
          </a:prstGeom>
          <a:noFill/>
          <a:ln>
            <a:noFill/>
          </a:ln>
        </p:spPr>
      </p:pic>
    </p:spTree>
    <p:extLst>
      <p:ext uri="{BB962C8B-B14F-4D97-AF65-F5344CB8AC3E}">
        <p14:creationId xmlns:p14="http://schemas.microsoft.com/office/powerpoint/2010/main" val="20221668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47uNoNZe4EOs_x1n0hyw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PlRnh5z90We.JvEvA70S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PlRnh5z90We.JvEvA70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PlRnh5z90We.JvEvA70S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PlRnh5z90We.JvEvA70S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PlRnh5z90We.JvEvA70S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PlRnh5z90We.JvEvA70S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PlRnh5z90We.JvEvA70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7uNoNZe4EOs_x1n0hyw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upxNMhKVUiodNZm96ZXA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d7g1MaDbEuB5oTV.985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ybzICGwsk2YxuiWMvAz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PlRnh5z90We.JvEvA70SQ"/>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50622_Master RWTH Aachen Campus (4zu3)">
  <a:themeElements>
    <a:clrScheme name="RWTH AC Campus">
      <a:dk1>
        <a:srgbClr val="000000"/>
      </a:dk1>
      <a:lt1>
        <a:srgbClr val="FFFFFF"/>
      </a:lt1>
      <a:dk2>
        <a:srgbClr val="000000"/>
      </a:dk2>
      <a:lt2>
        <a:srgbClr val="FFFFFF"/>
      </a:lt2>
      <a:accent1>
        <a:srgbClr val="8EBAE5"/>
      </a:accent1>
      <a:accent2>
        <a:srgbClr val="00549F"/>
      </a:accent2>
      <a:accent3>
        <a:srgbClr val="57AB27"/>
      </a:accent3>
      <a:accent4>
        <a:srgbClr val="BDCD00"/>
      </a:accent4>
      <a:accent5>
        <a:srgbClr val="612158"/>
      </a:accent5>
      <a:accent6>
        <a:srgbClr val="F6A800"/>
      </a:accent6>
      <a:hlink>
        <a:srgbClr val="5A5A5A"/>
      </a:hlink>
      <a:folHlink>
        <a:srgbClr val="5A5A5A"/>
      </a:folHlink>
    </a:clrScheme>
    <a:fontScheme name="2_Vorlage RWTH Campus">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w="10795" cap="flat" cmpd="sng" algn="ctr">
          <a:noFill/>
          <a:prstDash val="solid"/>
          <a:round/>
          <a:headEnd type="none" w="med" len="med"/>
          <a:tailEnd type="triangle" w="med" len="med"/>
        </a:ln>
        <a:effec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sz="1800" b="0" i="0" u="none" strike="noStrike" cap="none" normalizeH="0" baseline="0" smtClean="0">
            <a:ln>
              <a:noFill/>
            </a:ln>
            <a:solidFill>
              <a:schemeClr val="tx1"/>
            </a:solidFill>
            <a:effectLst/>
            <a:latin typeface="Arial" charset="0"/>
          </a:defRPr>
        </a:defPPr>
      </a:lstStyle>
    </a:spDef>
    <a:lnDef>
      <a:spPr bwMode="auto">
        <a:solidFill>
          <a:schemeClr val="accent2"/>
        </a:solidFill>
        <a:ln w="1079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a:lstStyle/>
    </a:lnDef>
    <a:txDef>
      <a:spPr>
        <a:solidFill>
          <a:schemeClr val="bg1"/>
        </a:solidFill>
      </a:spPr>
      <a:bodyPr wrap="square" rtlCol="0">
        <a:spAutoFit/>
      </a:bodyPr>
      <a:lstStyle>
        <a:defPPr marL="285750" marR="0" indent="-285750" algn="l" defTabSz="914400" rtl="0" eaLnBrk="1" fontAlgn="base" latinLnBrk="0" hangingPunct="1">
          <a:lnSpc>
            <a:spcPct val="100000"/>
          </a:lnSpc>
          <a:spcBef>
            <a:spcPts val="0"/>
          </a:spcBef>
          <a:spcAft>
            <a:spcPts val="1200"/>
          </a:spcAft>
          <a:buSzPct val="100000"/>
          <a:buFont typeface="Wingdings 2" panose="05020102010507070707" pitchFamily="18" charset="2"/>
          <a:buChar char="¡"/>
          <a:tabLst>
            <a:tab pos="266700" algn="l"/>
            <a:tab pos="631825" algn="l"/>
            <a:tab pos="981075" algn="l"/>
          </a:tabLst>
          <a:defRPr kumimoji="0" sz="1600" b="0" i="0" u="none" strike="noStrike" kern="0" cap="none" spc="0" normalizeH="0" baseline="0" noProof="0" dirty="0" err="1" smtClean="0">
            <a:ln>
              <a:noFill/>
            </a:ln>
            <a:solidFill>
              <a:srgbClr val="000000"/>
            </a:solidFill>
            <a:effectLst/>
            <a:uLnTx/>
            <a:uFillTx/>
            <a:latin typeface="Arial"/>
          </a:defRPr>
        </a:defPPr>
      </a:lstStyle>
    </a:txDef>
  </a:objectDefaults>
  <a:extraClrSchemeLst>
    <a:extraClrScheme>
      <a:clrScheme name="2_Vorlage RWTH Campus 1">
        <a:dk1>
          <a:srgbClr val="000000"/>
        </a:dk1>
        <a:lt1>
          <a:srgbClr val="FFFFFF"/>
        </a:lt1>
        <a:dk2>
          <a:srgbClr val="000000"/>
        </a:dk2>
        <a:lt2>
          <a:srgbClr val="FFFFFF"/>
        </a:lt2>
        <a:accent1>
          <a:srgbClr val="B3D3E9"/>
        </a:accent1>
        <a:accent2>
          <a:srgbClr val="006DB6"/>
        </a:accent2>
        <a:accent3>
          <a:srgbClr val="FFFFFF"/>
        </a:accent3>
        <a:accent4>
          <a:srgbClr val="000000"/>
        </a:accent4>
        <a:accent5>
          <a:srgbClr val="D6E6F2"/>
        </a:accent5>
        <a:accent6>
          <a:srgbClr val="0062A5"/>
        </a:accent6>
        <a:hlink>
          <a:srgbClr val="80B6DA"/>
        </a:hlink>
        <a:folHlink>
          <a:srgbClr val="4D99C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ba_neu.pptx" id="{B123DEFD-55E9-4594-916C-264BB61C5CFB}" vid="{5AD5320E-E159-42A6-A730-5300C31D316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8001</TotalTime>
  <Words>1322</Words>
  <Application>Microsoft Office PowerPoint</Application>
  <PresentationFormat>A4 Paper (210x297 mm)</PresentationFormat>
  <Paragraphs>169</Paragraphs>
  <Slides>15</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5" baseType="lpstr">
      <vt:lpstr>Arial</vt:lpstr>
      <vt:lpstr>Calibri</vt:lpstr>
      <vt:lpstr>Calibri Light</vt:lpstr>
      <vt:lpstr>Century Gothic</vt:lpstr>
      <vt:lpstr>Symbol</vt:lpstr>
      <vt:lpstr>Wingdings</vt:lpstr>
      <vt:lpstr>Wingdings 2</vt:lpstr>
      <vt:lpstr>Office Theme</vt:lpstr>
      <vt:lpstr>150622_Master RWTH Aachen Campus (4zu3)</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andra Strydom</dc:creator>
  <cp:lastModifiedBy>Liza Du Plessis</cp:lastModifiedBy>
  <cp:revision>119</cp:revision>
  <cp:lastPrinted>2022-02-10T12:01:38Z</cp:lastPrinted>
  <dcterms:created xsi:type="dcterms:W3CDTF">2017-09-08T19:57:35Z</dcterms:created>
  <dcterms:modified xsi:type="dcterms:W3CDTF">2022-03-29T13:53:15Z</dcterms:modified>
</cp:coreProperties>
</file>